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D1D9"/>
    <a:srgbClr val="F797B0"/>
    <a:srgbClr val="E8EAED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10" d="100"/>
          <a:sy n="110" d="100"/>
        </p:scale>
        <p:origin x="540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4.10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Estonsko</c:v>
                </c:pt>
                <c:pt idx="2">
                  <c:v>Lotyšsko</c:v>
                </c:pt>
                <c:pt idx="3">
                  <c:v>Litva</c:v>
                </c:pt>
                <c:pt idx="4">
                  <c:v>Chorvatsko</c:v>
                </c:pt>
                <c:pt idx="5">
                  <c:v>Slovensko</c:v>
                </c:pt>
                <c:pt idx="6">
                  <c:v>Rakousko</c:v>
                </c:pt>
                <c:pt idx="7">
                  <c:v>Belgie</c:v>
                </c:pt>
                <c:pt idx="8">
                  <c:v>Bulharsko</c:v>
                </c:pt>
                <c:pt idx="9">
                  <c:v>Irsko</c:v>
                </c:pt>
                <c:pt idx="10">
                  <c:v>Česká republika</c:v>
                </c:pt>
                <c:pt idx="11">
                  <c:v>Velká Británie</c:v>
                </c:pt>
                <c:pt idx="12">
                  <c:v>Rumunsko</c:v>
                </c:pt>
                <c:pt idx="13">
                  <c:v>Nizozemsko</c:v>
                </c:pt>
                <c:pt idx="14">
                  <c:v>Řecko</c:v>
                </c:pt>
                <c:pt idx="15">
                  <c:v>Maďarsko</c:v>
                </c:pt>
                <c:pt idx="16">
                  <c:v>Dánsko</c:v>
                </c:pt>
                <c:pt idx="17">
                  <c:v>Lucembursko</c:v>
                </c:pt>
                <c:pt idx="18">
                  <c:v>Lichtenštejnsko</c:v>
                </c:pt>
                <c:pt idx="19">
                  <c:v>Island</c:v>
                </c:pt>
                <c:pt idx="20">
                  <c:v>Německo</c:v>
                </c:pt>
                <c:pt idx="21">
                  <c:v>Polsko</c:v>
                </c:pt>
                <c:pt idx="22">
                  <c:v>Norsko</c:v>
                </c:pt>
                <c:pt idx="23">
                  <c:v>Kypr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Švédsko</c:v>
                </c:pt>
                <c:pt idx="28">
                  <c:v>Itálie</c:v>
                </c:pt>
                <c:pt idx="29">
                  <c:v>Malta</c:v>
                </c:pt>
                <c:pt idx="30">
                  <c:v>Španěl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905.49898108700904</c:v>
                </c:pt>
                <c:pt idx="1">
                  <c:v>1352.5451174438065</c:v>
                </c:pt>
                <c:pt idx="2">
                  <c:v>1640.5834327125951</c:v>
                </c:pt>
                <c:pt idx="3">
                  <c:v>1320.2509582726398</c:v>
                </c:pt>
                <c:pt idx="4">
                  <c:v>689.40025849121457</c:v>
                </c:pt>
                <c:pt idx="5">
                  <c:v>658.16848431614301</c:v>
                </c:pt>
                <c:pt idx="6">
                  <c:v>440.66641920561403</c:v>
                </c:pt>
                <c:pt idx="7">
                  <c:v>544.46801198357298</c:v>
                </c:pt>
                <c:pt idx="8">
                  <c:v>688.08349068587097</c:v>
                </c:pt>
                <c:pt idx="9">
                  <c:v>548.23907631072177</c:v>
                </c:pt>
                <c:pt idx="10">
                  <c:v>291.239738696845</c:v>
                </c:pt>
                <c:pt idx="11">
                  <c:v>852.05137718246658</c:v>
                </c:pt>
                <c:pt idx="12">
                  <c:v>1060.5034818958077</c:v>
                </c:pt>
                <c:pt idx="13">
                  <c:v>335.35381272014467</c:v>
                </c:pt>
                <c:pt idx="14">
                  <c:v>372.58718867684246</c:v>
                </c:pt>
                <c:pt idx="15">
                  <c:v>215.51710901839047</c:v>
                </c:pt>
                <c:pt idx="16">
                  <c:v>234.97435839308591</c:v>
                </c:pt>
                <c:pt idx="17">
                  <c:v>340.6760494994474</c:v>
                </c:pt>
                <c:pt idx="18">
                  <c:v>209.04844246006144</c:v>
                </c:pt>
                <c:pt idx="19">
                  <c:v>246.61251077899897</c:v>
                </c:pt>
                <c:pt idx="20">
                  <c:v>195.34979566523916</c:v>
                </c:pt>
                <c:pt idx="21">
                  <c:v>138.51048225811286</c:v>
                </c:pt>
                <c:pt idx="22">
                  <c:v>134.62305172908461</c:v>
                </c:pt>
                <c:pt idx="23">
                  <c:v>204.72857697873323</c:v>
                </c:pt>
                <c:pt idx="24">
                  <c:v>132.5721789907212</c:v>
                </c:pt>
                <c:pt idx="25">
                  <c:v>101.99165136368546</c:v>
                </c:pt>
                <c:pt idx="26">
                  <c:v>93.648846352468738</c:v>
                </c:pt>
                <c:pt idx="27">
                  <c:v>89.730526650508651</c:v>
                </c:pt>
                <c:pt idx="28">
                  <c:v>72.293635598092379</c:v>
                </c:pt>
                <c:pt idx="29">
                  <c:v>40.228232056653788</c:v>
                </c:pt>
                <c:pt idx="30">
                  <c:v>50.6120367660235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07.11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Estonsko</c:v>
                </c:pt>
                <c:pt idx="2">
                  <c:v>Lotyšsko</c:v>
                </c:pt>
                <c:pt idx="3">
                  <c:v>Litva</c:v>
                </c:pt>
                <c:pt idx="4">
                  <c:v>Chorvatsko</c:v>
                </c:pt>
                <c:pt idx="5">
                  <c:v>Slovensko</c:v>
                </c:pt>
                <c:pt idx="6">
                  <c:v>Rakousko</c:v>
                </c:pt>
                <c:pt idx="7">
                  <c:v>Belgie</c:v>
                </c:pt>
                <c:pt idx="8">
                  <c:v>Bulharsko</c:v>
                </c:pt>
                <c:pt idx="9">
                  <c:v>Irsko</c:v>
                </c:pt>
                <c:pt idx="10">
                  <c:v>Česká republika</c:v>
                </c:pt>
                <c:pt idx="11">
                  <c:v>Velká Británie</c:v>
                </c:pt>
                <c:pt idx="12">
                  <c:v>Rumunsko</c:v>
                </c:pt>
                <c:pt idx="13">
                  <c:v>Nizozemsko</c:v>
                </c:pt>
                <c:pt idx="14">
                  <c:v>Řecko</c:v>
                </c:pt>
                <c:pt idx="15">
                  <c:v>Maďarsko</c:v>
                </c:pt>
                <c:pt idx="16">
                  <c:v>Dánsko</c:v>
                </c:pt>
                <c:pt idx="17">
                  <c:v>Lucembursko</c:v>
                </c:pt>
                <c:pt idx="18">
                  <c:v>Lichtenštejnsko</c:v>
                </c:pt>
                <c:pt idx="19">
                  <c:v>Island</c:v>
                </c:pt>
                <c:pt idx="20">
                  <c:v>Německo</c:v>
                </c:pt>
                <c:pt idx="21">
                  <c:v>Polsko</c:v>
                </c:pt>
                <c:pt idx="22">
                  <c:v>Norsko</c:v>
                </c:pt>
                <c:pt idx="23">
                  <c:v>Kypr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Švédsko</c:v>
                </c:pt>
                <c:pt idx="28">
                  <c:v>Itálie</c:v>
                </c:pt>
                <c:pt idx="29">
                  <c:v>Malta</c:v>
                </c:pt>
                <c:pt idx="30">
                  <c:v>Španěl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747.8735469575513</c:v>
                </c:pt>
                <c:pt idx="1">
                  <c:v>1697.7733232202838</c:v>
                </c:pt>
                <c:pt idx="2">
                  <c:v>1533.3324596694931</c:v>
                </c:pt>
                <c:pt idx="3">
                  <c:v>1401.6012368964491</c:v>
                </c:pt>
                <c:pt idx="4">
                  <c:v>1393.8319412838068</c:v>
                </c:pt>
                <c:pt idx="5">
                  <c:v>1382.2234412563282</c:v>
                </c:pt>
                <c:pt idx="6">
                  <c:v>1026.8098285777971</c:v>
                </c:pt>
                <c:pt idx="7">
                  <c:v>943.36789777165245</c:v>
                </c:pt>
                <c:pt idx="8">
                  <c:v>912.51045460521948</c:v>
                </c:pt>
                <c:pt idx="9">
                  <c:v>858.48554922609605</c:v>
                </c:pt>
                <c:pt idx="10">
                  <c:v>820.23097382545393</c:v>
                </c:pt>
                <c:pt idx="11">
                  <c:v>776.13291698809326</c:v>
                </c:pt>
                <c:pt idx="12">
                  <c:v>724.4201643161374</c:v>
                </c:pt>
                <c:pt idx="13">
                  <c:v>680.80092672246042</c:v>
                </c:pt>
                <c:pt idx="14">
                  <c:v>649.81646330455624</c:v>
                </c:pt>
                <c:pt idx="15">
                  <c:v>608.88317406596798</c:v>
                </c:pt>
                <c:pt idx="16">
                  <c:v>478.05483410538949</c:v>
                </c:pt>
                <c:pt idx="17">
                  <c:v>421.65249445782518</c:v>
                </c:pt>
                <c:pt idx="18">
                  <c:v>407.77350504555187</c:v>
                </c:pt>
                <c:pt idx="19">
                  <c:v>392.16332449043483</c:v>
                </c:pt>
                <c:pt idx="20">
                  <c:v>373.5220453770259</c:v>
                </c:pt>
                <c:pt idx="21">
                  <c:v>357.38581276036246</c:v>
                </c:pt>
                <c:pt idx="22">
                  <c:v>309.58085394162731</c:v>
                </c:pt>
                <c:pt idx="23">
                  <c:v>268.0165089160534</c:v>
                </c:pt>
                <c:pt idx="24">
                  <c:v>166.56133286711363</c:v>
                </c:pt>
                <c:pt idx="25">
                  <c:v>131.18050601620175</c:v>
                </c:pt>
                <c:pt idx="26">
                  <c:v>122.67979446982291</c:v>
                </c:pt>
                <c:pt idx="27">
                  <c:v>106.3462149781522</c:v>
                </c:pt>
                <c:pt idx="28">
                  <c:v>94.476180741835279</c:v>
                </c:pt>
                <c:pt idx="29">
                  <c:v>71.516856989606737</c:v>
                </c:pt>
                <c:pt idx="30">
                  <c:v>48.995815020907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I$2:$I$45</c:f>
              <c:numCache>
                <c:formatCode>General</c:formatCode>
                <c:ptCount val="44"/>
                <c:pt idx="0">
                  <c:v>3.349984899031802</c:v>
                </c:pt>
                <c:pt idx="1">
                  <c:v>2.9681213354115967</c:v>
                </c:pt>
                <c:pt idx="2">
                  <c:v>3.2371615734167416</c:v>
                </c:pt>
                <c:pt idx="3">
                  <c:v>2.5428641850163682</c:v>
                </c:pt>
                <c:pt idx="4">
                  <c:v>2.5515429023713727</c:v>
                </c:pt>
                <c:pt idx="5">
                  <c:v>2.4213621420463025</c:v>
                </c:pt>
                <c:pt idx="6">
                  <c:v>1.8225306445509806</c:v>
                </c:pt>
                <c:pt idx="7">
                  <c:v>1.4753819503507937</c:v>
                </c:pt>
                <c:pt idx="8">
                  <c:v>1.4840606677057984</c:v>
                </c:pt>
                <c:pt idx="9">
                  <c:v>1.4840606677057984</c:v>
                </c:pt>
                <c:pt idx="10">
                  <c:v>1.5448116891908312</c:v>
                </c:pt>
                <c:pt idx="11">
                  <c:v>1.6315988627408777</c:v>
                </c:pt>
                <c:pt idx="12">
                  <c:v>2.2217516428811952</c:v>
                </c:pt>
                <c:pt idx="13">
                  <c:v>2.4821131635313352</c:v>
                </c:pt>
                <c:pt idx="14">
                  <c:v>2.2738239470112234</c:v>
                </c:pt>
                <c:pt idx="15">
                  <c:v>2.3692898379162748</c:v>
                </c:pt>
                <c:pt idx="16">
                  <c:v>2.2043942081711858</c:v>
                </c:pt>
                <c:pt idx="17">
                  <c:v>2.2130729255261907</c:v>
                </c:pt>
                <c:pt idx="18">
                  <c:v>1.2150204297006537</c:v>
                </c:pt>
                <c:pt idx="19">
                  <c:v>1.1195545387956023</c:v>
                </c:pt>
                <c:pt idx="20">
                  <c:v>0.85051430079045764</c:v>
                </c:pt>
                <c:pt idx="21">
                  <c:v>0.72901225782039214</c:v>
                </c:pt>
                <c:pt idx="22">
                  <c:v>0.43393586775023346</c:v>
                </c:pt>
                <c:pt idx="23">
                  <c:v>0.35582741155519143</c:v>
                </c:pt>
                <c:pt idx="24">
                  <c:v>0.19961049916510737</c:v>
                </c:pt>
                <c:pt idx="25">
                  <c:v>0.1735743471000934</c:v>
                </c:pt>
                <c:pt idx="26">
                  <c:v>8.6787173550046698E-2</c:v>
                </c:pt>
                <c:pt idx="27">
                  <c:v>6.0751021485032683E-2</c:v>
                </c:pt>
                <c:pt idx="28">
                  <c:v>9.5465890905051351E-2</c:v>
                </c:pt>
                <c:pt idx="29">
                  <c:v>0.18225306445509803</c:v>
                </c:pt>
                <c:pt idx="30">
                  <c:v>0.19961049916510737</c:v>
                </c:pt>
                <c:pt idx="31">
                  <c:v>0.1909317818101027</c:v>
                </c:pt>
                <c:pt idx="32">
                  <c:v>0.35582741155519143</c:v>
                </c:pt>
                <c:pt idx="33">
                  <c:v>0.2777189553601494</c:v>
                </c:pt>
                <c:pt idx="34">
                  <c:v>0.34714869420018679</c:v>
                </c:pt>
                <c:pt idx="35">
                  <c:v>0.41657843304022413</c:v>
                </c:pt>
                <c:pt idx="36">
                  <c:v>0.3384699768451821</c:v>
                </c:pt>
                <c:pt idx="37">
                  <c:v>0.46865073717025213</c:v>
                </c:pt>
                <c:pt idx="38">
                  <c:v>0.48600817188026146</c:v>
                </c:pt>
                <c:pt idx="39">
                  <c:v>0.53808047601028952</c:v>
                </c:pt>
                <c:pt idx="40">
                  <c:v>0.78976327930542489</c:v>
                </c:pt>
                <c:pt idx="41">
                  <c:v>0.93730147434050426</c:v>
                </c:pt>
                <c:pt idx="42">
                  <c:v>1.2844501685406911</c:v>
                </c:pt>
                <c:pt idx="43">
                  <c:v>1.2236991470556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C$2:$C$45</c:f>
              <c:numCache>
                <c:formatCode>General</c:formatCode>
                <c:ptCount val="44"/>
                <c:pt idx="0">
                  <c:v>11.483140122643302</c:v>
                </c:pt>
                <c:pt idx="1">
                  <c:v>10.88467027911792</c:v>
                </c:pt>
                <c:pt idx="2">
                  <c:v>9.7344860485925722</c:v>
                </c:pt>
                <c:pt idx="3">
                  <c:v>9.1266651137621047</c:v>
                </c:pt>
                <c:pt idx="4">
                  <c:v>8.6030040006773945</c:v>
                </c:pt>
                <c:pt idx="5">
                  <c:v>8.8461323746095797</c:v>
                </c:pt>
                <c:pt idx="6">
                  <c:v>10.202040613846778</c:v>
                </c:pt>
                <c:pt idx="7">
                  <c:v>11.277416113931453</c:v>
                </c:pt>
                <c:pt idx="8">
                  <c:v>13.231794196694034</c:v>
                </c:pt>
                <c:pt idx="9">
                  <c:v>14.447436066354971</c:v>
                </c:pt>
                <c:pt idx="10">
                  <c:v>13.287900744524537</c:v>
                </c:pt>
                <c:pt idx="11">
                  <c:v>11.240011748711115</c:v>
                </c:pt>
                <c:pt idx="12">
                  <c:v>9.6596773181518998</c:v>
                </c:pt>
                <c:pt idx="13">
                  <c:v>7.3967132223215417</c:v>
                </c:pt>
                <c:pt idx="14">
                  <c:v>5.3207709525928655</c:v>
                </c:pt>
                <c:pt idx="15">
                  <c:v>3.9274583481353318</c:v>
                </c:pt>
                <c:pt idx="16">
                  <c:v>3.1232644958980971</c:v>
                </c:pt>
                <c:pt idx="17">
                  <c:v>2.3938793741015356</c:v>
                </c:pt>
                <c:pt idx="18">
                  <c:v>1.5616322479490485</c:v>
                </c:pt>
                <c:pt idx="19">
                  <c:v>0.9912156783389169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5247946523727133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6.5457639135588858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8.4159821745757105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956078391694585</c:v>
                </c:pt>
                <c:pt idx="41">
                  <c:v>0.80419385223723461</c:v>
                </c:pt>
                <c:pt idx="42">
                  <c:v>1.5148767914236281</c:v>
                </c:pt>
                <c:pt idx="43">
                  <c:v>2.7118164784743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D$2:$D$45</c:f>
              <c:numCache>
                <c:formatCode>General</c:formatCode>
                <c:ptCount val="44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55850658589687</c:v>
                </c:pt>
                <c:pt idx="7">
                  <c:v>3.2352837370575283</c:v>
                </c:pt>
                <c:pt idx="8">
                  <c:v>3.0807981958940833</c:v>
                </c:pt>
                <c:pt idx="9">
                  <c:v>2.805992185170648</c:v>
                </c:pt>
                <c:pt idx="10">
                  <c:v>2.7213222251099136</c:v>
                </c:pt>
                <c:pt idx="11">
                  <c:v>2.7777688651504029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30505368550806</c:v>
                </c:pt>
                <c:pt idx="15">
                  <c:v>3.1119923917059324</c:v>
                </c:pt>
                <c:pt idx="16">
                  <c:v>2.95899228843829</c:v>
                </c:pt>
                <c:pt idx="17">
                  <c:v>2.3068850521810567</c:v>
                </c:pt>
                <c:pt idx="18">
                  <c:v>1.8166905465662795</c:v>
                </c:pt>
                <c:pt idx="19">
                  <c:v>1.4349330073450746</c:v>
                </c:pt>
                <c:pt idx="20">
                  <c:v>1.1779522513712672</c:v>
                </c:pt>
                <c:pt idx="21">
                  <c:v>0.888291861689808</c:v>
                </c:pt>
                <c:pt idx="22">
                  <c:v>0.56892271409230177</c:v>
                </c:pt>
                <c:pt idx="23">
                  <c:v>0.48722362982317224</c:v>
                </c:pt>
                <c:pt idx="24">
                  <c:v>0.36096140867997217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241761909973669</c:v>
                </c:pt>
                <c:pt idx="29">
                  <c:v>0.42929155188688051</c:v>
                </c:pt>
                <c:pt idx="30">
                  <c:v>0.52287413932242877</c:v>
                </c:pt>
                <c:pt idx="31">
                  <c:v>0.68924318365229253</c:v>
                </c:pt>
                <c:pt idx="32">
                  <c:v>1.2091464471831166</c:v>
                </c:pt>
                <c:pt idx="33">
                  <c:v>1.0932822913105329</c:v>
                </c:pt>
                <c:pt idx="34">
                  <c:v>1.0204958344162174</c:v>
                </c:pt>
                <c:pt idx="35">
                  <c:v>0.90611711643943627</c:v>
                </c:pt>
                <c:pt idx="36">
                  <c:v>0.72786456894315377</c:v>
                </c:pt>
                <c:pt idx="37">
                  <c:v>0.6045732235915583</c:v>
                </c:pt>
                <c:pt idx="38">
                  <c:v>0.47831100244835811</c:v>
                </c:pt>
                <c:pt idx="39">
                  <c:v>0.36838859815898395</c:v>
                </c:pt>
                <c:pt idx="40">
                  <c:v>0.31194195811849446</c:v>
                </c:pt>
                <c:pt idx="41">
                  <c:v>0.30154389284787797</c:v>
                </c:pt>
                <c:pt idx="42">
                  <c:v>0.3104565202226921</c:v>
                </c:pt>
                <c:pt idx="43">
                  <c:v>0.34759246761775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F$2:$F$45</c:f>
              <c:numCache>
                <c:formatCode>General</c:formatCode>
                <c:ptCount val="44"/>
                <c:pt idx="0">
                  <c:v>5.5498279989258483</c:v>
                </c:pt>
                <c:pt idx="1">
                  <c:v>5.4777305354956933</c:v>
                </c:pt>
                <c:pt idx="2">
                  <c:v>5.2580847748131294</c:v>
                </c:pt>
                <c:pt idx="3">
                  <c:v>4.7466957900178475</c:v>
                </c:pt>
                <c:pt idx="4">
                  <c:v>4.3090809538487704</c:v>
                </c:pt>
                <c:pt idx="5">
                  <c:v>3.5562493008222731</c:v>
                </c:pt>
                <c:pt idx="6">
                  <c:v>3.4875052077842188</c:v>
                </c:pt>
                <c:pt idx="7">
                  <c:v>3.4087010035698637</c:v>
                </c:pt>
                <c:pt idx="8">
                  <c:v>3.7691883207206369</c:v>
                </c:pt>
                <c:pt idx="9">
                  <c:v>4.1481191750279605</c:v>
                </c:pt>
                <c:pt idx="10">
                  <c:v>4.7383123640375979</c:v>
                </c:pt>
                <c:pt idx="11">
                  <c:v>4.9831084026609131</c:v>
                </c:pt>
                <c:pt idx="12">
                  <c:v>5.145746866677773</c:v>
                </c:pt>
                <c:pt idx="13">
                  <c:v>4.9026275132505077</c:v>
                </c:pt>
                <c:pt idx="14">
                  <c:v>4.0844051375780568</c:v>
                </c:pt>
                <c:pt idx="15">
                  <c:v>3.645113616212929</c:v>
                </c:pt>
                <c:pt idx="16">
                  <c:v>2.9610260562244859</c:v>
                </c:pt>
                <c:pt idx="17">
                  <c:v>2.4110733119200516</c:v>
                </c:pt>
                <c:pt idx="18">
                  <c:v>1.8946542715366188</c:v>
                </c:pt>
                <c:pt idx="19">
                  <c:v>1.3547616384084851</c:v>
                </c:pt>
                <c:pt idx="20">
                  <c:v>0.95235719135645969</c:v>
                </c:pt>
                <c:pt idx="21">
                  <c:v>0.68241087479239282</c:v>
                </c:pt>
                <c:pt idx="22">
                  <c:v>0.48120865126638024</c:v>
                </c:pt>
                <c:pt idx="23">
                  <c:v>0.35378057636657223</c:v>
                </c:pt>
                <c:pt idx="24">
                  <c:v>0.23138255705491453</c:v>
                </c:pt>
                <c:pt idx="25">
                  <c:v>0.17772863078131115</c:v>
                </c:pt>
                <c:pt idx="26">
                  <c:v>0.13413481568400842</c:v>
                </c:pt>
                <c:pt idx="27">
                  <c:v>0.10898453774325684</c:v>
                </c:pt>
                <c:pt idx="28">
                  <c:v>0.12072133411560758</c:v>
                </c:pt>
                <c:pt idx="29">
                  <c:v>0.15425503803660967</c:v>
                </c:pt>
                <c:pt idx="30">
                  <c:v>0.24311935342726523</c:v>
                </c:pt>
                <c:pt idx="31">
                  <c:v>0.39234433587572459</c:v>
                </c:pt>
                <c:pt idx="32">
                  <c:v>0.51809572557948247</c:v>
                </c:pt>
                <c:pt idx="33">
                  <c:v>0.60528335577408798</c:v>
                </c:pt>
                <c:pt idx="34">
                  <c:v>0.66229065243979157</c:v>
                </c:pt>
                <c:pt idx="35">
                  <c:v>0.65558391165559116</c:v>
                </c:pt>
                <c:pt idx="36">
                  <c:v>0.61366678175433853</c:v>
                </c:pt>
                <c:pt idx="37">
                  <c:v>0.56504291106888549</c:v>
                </c:pt>
                <c:pt idx="38">
                  <c:v>0.46947185489402948</c:v>
                </c:pt>
                <c:pt idx="39">
                  <c:v>0.38228422469942397</c:v>
                </c:pt>
                <c:pt idx="40">
                  <c:v>0.35378057636657223</c:v>
                </c:pt>
                <c:pt idx="41">
                  <c:v>0.37725416911127369</c:v>
                </c:pt>
                <c:pt idx="42">
                  <c:v>0.40743450264017561</c:v>
                </c:pt>
                <c:pt idx="43">
                  <c:v>0.31018676126926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K$2:$K$45</c:f>
              <c:numCache>
                <c:formatCode>General</c:formatCode>
                <c:ptCount val="44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4330275593718672</c:v>
                </c:pt>
                <c:pt idx="35">
                  <c:v>0.30707733415111438</c:v>
                </c:pt>
                <c:pt idx="36">
                  <c:v>0.38896462325807823</c:v>
                </c:pt>
                <c:pt idx="37">
                  <c:v>0.44014417894993063</c:v>
                </c:pt>
                <c:pt idx="38">
                  <c:v>0.70627786854756314</c:v>
                </c:pt>
                <c:pt idx="39">
                  <c:v>0.63462649057896969</c:v>
                </c:pt>
                <c:pt idx="40">
                  <c:v>1.1668938697742346</c:v>
                </c:pt>
                <c:pt idx="41">
                  <c:v>1.9345872051520208</c:v>
                </c:pt>
                <c:pt idx="42">
                  <c:v>3.4904456981843333</c:v>
                </c:pt>
                <c:pt idx="43">
                  <c:v>5.3943251699212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E$2:$E$45</c:f>
              <c:numCache>
                <c:formatCode>General</c:formatCode>
                <c:ptCount val="44"/>
                <c:pt idx="0">
                  <c:v>6.6805575610655081</c:v>
                </c:pt>
                <c:pt idx="1">
                  <c:v>6.1539045351931732</c:v>
                </c:pt>
                <c:pt idx="2">
                  <c:v>5.8316602179927495</c:v>
                </c:pt>
                <c:pt idx="3">
                  <c:v>4.9875724915946238</c:v>
                </c:pt>
                <c:pt idx="4">
                  <c:v>4.0689357067396834</c:v>
                </c:pt>
                <c:pt idx="5">
                  <c:v>3.2573128928953317</c:v>
                </c:pt>
                <c:pt idx="6">
                  <c:v>2.4829646082793873</c:v>
                </c:pt>
                <c:pt idx="7">
                  <c:v>2.0621231492489822</c:v>
                </c:pt>
                <c:pt idx="8">
                  <c:v>1.6509009235678442</c:v>
                </c:pt>
                <c:pt idx="9">
                  <c:v>1.4945883816422654</c:v>
                </c:pt>
                <c:pt idx="10">
                  <c:v>1.3478950730659529</c:v>
                </c:pt>
                <c:pt idx="11">
                  <c:v>1.460921064919833</c:v>
                </c:pt>
                <c:pt idx="12">
                  <c:v>1.6557105402424774</c:v>
                </c:pt>
                <c:pt idx="13">
                  <c:v>1.8444879947218307</c:v>
                </c:pt>
                <c:pt idx="14">
                  <c:v>1.8276543363606144</c:v>
                </c:pt>
                <c:pt idx="15">
                  <c:v>1.9238466698532783</c:v>
                </c:pt>
                <c:pt idx="16">
                  <c:v>1.9118226281666952</c:v>
                </c:pt>
                <c:pt idx="17">
                  <c:v>1.7122235361694178</c:v>
                </c:pt>
                <c:pt idx="18">
                  <c:v>1.3767527731137523</c:v>
                </c:pt>
                <c:pt idx="19">
                  <c:v>1.1158310685149013</c:v>
                </c:pt>
                <c:pt idx="20">
                  <c:v>0.8272540680369096</c:v>
                </c:pt>
                <c:pt idx="21">
                  <c:v>0.57234438428135026</c:v>
                </c:pt>
                <c:pt idx="22">
                  <c:v>0.34989961307956496</c:v>
                </c:pt>
                <c:pt idx="23">
                  <c:v>0.28136257546604193</c:v>
                </c:pt>
                <c:pt idx="24">
                  <c:v>0.16472937110618693</c:v>
                </c:pt>
                <c:pt idx="25">
                  <c:v>0.1130259918538801</c:v>
                </c:pt>
                <c:pt idx="26">
                  <c:v>7.2144250119497932E-2</c:v>
                </c:pt>
                <c:pt idx="27">
                  <c:v>6.8537037613523033E-2</c:v>
                </c:pt>
                <c:pt idx="28">
                  <c:v>7.0941845950839633E-2</c:v>
                </c:pt>
                <c:pt idx="29">
                  <c:v>5.6512995926940049E-2</c:v>
                </c:pt>
                <c:pt idx="30">
                  <c:v>6.8537037613523033E-2</c:v>
                </c:pt>
                <c:pt idx="31">
                  <c:v>8.6573100143397516E-2</c:v>
                </c:pt>
                <c:pt idx="32">
                  <c:v>0.15270532941960396</c:v>
                </c:pt>
                <c:pt idx="33">
                  <c:v>0.1923846669853278</c:v>
                </c:pt>
                <c:pt idx="34">
                  <c:v>0.31863710469444922</c:v>
                </c:pt>
                <c:pt idx="35">
                  <c:v>0.38356692980199736</c:v>
                </c:pt>
                <c:pt idx="36">
                  <c:v>0.49899772999319397</c:v>
                </c:pt>
                <c:pt idx="37">
                  <c:v>0.47735445495734463</c:v>
                </c:pt>
                <c:pt idx="38">
                  <c:v>0.44007992572893739</c:v>
                </c:pt>
                <c:pt idx="39">
                  <c:v>0.45090156324686204</c:v>
                </c:pt>
                <c:pt idx="40">
                  <c:v>0.47014002994539483</c:v>
                </c:pt>
                <c:pt idx="41">
                  <c:v>0.59158285097988306</c:v>
                </c:pt>
                <c:pt idx="42">
                  <c:v>0.75751462625472832</c:v>
                </c:pt>
                <c:pt idx="43">
                  <c:v>0.66853671777401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G$2:$G$45</c:f>
              <c:numCache>
                <c:formatCode>General</c:formatCode>
                <c:ptCount val="44"/>
                <c:pt idx="0">
                  <c:v>3.7340044584013232</c:v>
                </c:pt>
                <c:pt idx="1">
                  <c:v>3.194009967494055</c:v>
                </c:pt>
                <c:pt idx="2">
                  <c:v>3.0618836558890847</c:v>
                </c:pt>
                <c:pt idx="3">
                  <c:v>2.4816768092759567</c:v>
                </c:pt>
                <c:pt idx="4">
                  <c:v>2.3323166309399035</c:v>
                </c:pt>
                <c:pt idx="5">
                  <c:v>2.2633811640155712</c:v>
                </c:pt>
                <c:pt idx="6">
                  <c:v>2.3495504976709864</c:v>
                </c:pt>
                <c:pt idx="7">
                  <c:v>1.5510480057974729</c:v>
                </c:pt>
                <c:pt idx="8">
                  <c:v>1.4189216941925029</c:v>
                </c:pt>
                <c:pt idx="9">
                  <c:v>1.0684997373271479</c:v>
                </c:pt>
                <c:pt idx="10">
                  <c:v>1.0053088926465101</c:v>
                </c:pt>
                <c:pt idx="11">
                  <c:v>0.84445946982306852</c:v>
                </c:pt>
                <c:pt idx="12">
                  <c:v>0.8904164477726233</c:v>
                </c:pt>
                <c:pt idx="13">
                  <c:v>0.77552400289873646</c:v>
                </c:pt>
                <c:pt idx="14">
                  <c:v>0.87318258104154034</c:v>
                </c:pt>
                <c:pt idx="15">
                  <c:v>0.79275786962981942</c:v>
                </c:pt>
                <c:pt idx="16">
                  <c:v>0.80424711411720817</c:v>
                </c:pt>
                <c:pt idx="17">
                  <c:v>0.77552400289873646</c:v>
                </c:pt>
                <c:pt idx="18">
                  <c:v>0.53424986866357393</c:v>
                </c:pt>
                <c:pt idx="19">
                  <c:v>0.49403751295771353</c:v>
                </c:pt>
                <c:pt idx="20">
                  <c:v>0.29297573442841152</c:v>
                </c:pt>
                <c:pt idx="21">
                  <c:v>0.33893271237796624</c:v>
                </c:pt>
                <c:pt idx="22">
                  <c:v>0.12638168936127556</c:v>
                </c:pt>
                <c:pt idx="23">
                  <c:v>6.8935466924332126E-2</c:v>
                </c:pt>
                <c:pt idx="24">
                  <c:v>5.1701600193249098E-2</c:v>
                </c:pt>
                <c:pt idx="25">
                  <c:v>4.0212355705860403E-2</c:v>
                </c:pt>
                <c:pt idx="26">
                  <c:v>6.3190844680637778E-2</c:v>
                </c:pt>
                <c:pt idx="27">
                  <c:v>8.6169333655415153E-2</c:v>
                </c:pt>
                <c:pt idx="28">
                  <c:v>0.16084942282344161</c:v>
                </c:pt>
                <c:pt idx="29">
                  <c:v>0.18957253404191335</c:v>
                </c:pt>
                <c:pt idx="30">
                  <c:v>0.2872311121847172</c:v>
                </c:pt>
                <c:pt idx="31">
                  <c:v>0.24701875647885677</c:v>
                </c:pt>
                <c:pt idx="32">
                  <c:v>0.21255102301669074</c:v>
                </c:pt>
                <c:pt idx="33">
                  <c:v>0.28148648994102282</c:v>
                </c:pt>
                <c:pt idx="34">
                  <c:v>0.22978488974777372</c:v>
                </c:pt>
                <c:pt idx="35">
                  <c:v>0.21829564526038508</c:v>
                </c:pt>
                <c:pt idx="36">
                  <c:v>0.24701875647885677</c:v>
                </c:pt>
                <c:pt idx="37">
                  <c:v>0.12063706711758121</c:v>
                </c:pt>
                <c:pt idx="38">
                  <c:v>0.17233866731083031</c:v>
                </c:pt>
                <c:pt idx="39">
                  <c:v>0.12638168936127556</c:v>
                </c:pt>
                <c:pt idx="40">
                  <c:v>0.26425262320993981</c:v>
                </c:pt>
                <c:pt idx="41">
                  <c:v>0.45956977949554745</c:v>
                </c:pt>
                <c:pt idx="42">
                  <c:v>0.75829013616765339</c:v>
                </c:pt>
                <c:pt idx="43">
                  <c:v>0.68361004699962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J$2:$J$45</c:f>
              <c:numCache>
                <c:formatCode>General</c:formatCode>
                <c:ptCount val="44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282567021596257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382061522617363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663031679794199</c:v>
                </c:pt>
                <c:pt idx="40">
                  <c:v>0.65071685023116776</c:v>
                </c:pt>
                <c:pt idx="41">
                  <c:v>0.88782015598341513</c:v>
                </c:pt>
                <c:pt idx="42">
                  <c:v>1.4700404956639337</c:v>
                </c:pt>
                <c:pt idx="43">
                  <c:v>2.02855050476922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B$2:$B$45</c:f>
              <c:numCache>
                <c:formatCode>General</c:formatCode>
                <c:ptCount val="44"/>
                <c:pt idx="0">
                  <c:v>3.8759411234432202</c:v>
                </c:pt>
                <c:pt idx="1">
                  <c:v>3.9995218549153226</c:v>
                </c:pt>
                <c:pt idx="2">
                  <c:v>3.347914361698781</c:v>
                </c:pt>
                <c:pt idx="3">
                  <c:v>3.2243336302266785</c:v>
                </c:pt>
                <c:pt idx="4">
                  <c:v>2.4491454055380344</c:v>
                </c:pt>
                <c:pt idx="5">
                  <c:v>2.0559339872177076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334647633136891</c:v>
                </c:pt>
                <c:pt idx="11">
                  <c:v>1.9997609274576613</c:v>
                </c:pt>
                <c:pt idx="12">
                  <c:v>2.3929723457779879</c:v>
                </c:pt>
                <c:pt idx="13">
                  <c:v>2.3255646740659319</c:v>
                </c:pt>
                <c:pt idx="14">
                  <c:v>2.224453166497848</c:v>
                </c:pt>
                <c:pt idx="15">
                  <c:v>1.7750686884174747</c:v>
                </c:pt>
                <c:pt idx="16">
                  <c:v>1.7638340764654652</c:v>
                </c:pt>
                <c:pt idx="17">
                  <c:v>1.2470419266730359</c:v>
                </c:pt>
                <c:pt idx="18">
                  <c:v>0.92123818006476521</c:v>
                </c:pt>
                <c:pt idx="19">
                  <c:v>0.61790365736051334</c:v>
                </c:pt>
                <c:pt idx="20">
                  <c:v>0.50555753784042001</c:v>
                </c:pt>
                <c:pt idx="21">
                  <c:v>0.34827297051228934</c:v>
                </c:pt>
                <c:pt idx="22">
                  <c:v>0.24716146294420532</c:v>
                </c:pt>
                <c:pt idx="23">
                  <c:v>0.16851917928013999</c:v>
                </c:pt>
                <c:pt idx="24">
                  <c:v>0.12358073147210266</c:v>
                </c:pt>
                <c:pt idx="25">
                  <c:v>0.11234611952009332</c:v>
                </c:pt>
                <c:pt idx="26">
                  <c:v>2.2469223904018665E-2</c:v>
                </c:pt>
                <c:pt idx="27">
                  <c:v>4.4938447808037331E-2</c:v>
                </c:pt>
                <c:pt idx="28">
                  <c:v>4.4938447808037331E-2</c:v>
                </c:pt>
                <c:pt idx="29">
                  <c:v>4.4938447808037331E-2</c:v>
                </c:pt>
                <c:pt idx="30">
                  <c:v>7.8642283664065324E-2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29209991075224268</c:v>
                </c:pt>
                <c:pt idx="34">
                  <c:v>0.41568064222434531</c:v>
                </c:pt>
                <c:pt idx="35">
                  <c:v>0.42691525417635462</c:v>
                </c:pt>
                <c:pt idx="36">
                  <c:v>0.68531132907256931</c:v>
                </c:pt>
                <c:pt idx="37">
                  <c:v>0.75271900078462528</c:v>
                </c:pt>
                <c:pt idx="38">
                  <c:v>0.62913826931252259</c:v>
                </c:pt>
                <c:pt idx="39">
                  <c:v>0.65160749321654132</c:v>
                </c:pt>
                <c:pt idx="40">
                  <c:v>0.85383050835270924</c:v>
                </c:pt>
                <c:pt idx="41">
                  <c:v>0.77518822468864401</c:v>
                </c:pt>
                <c:pt idx="42">
                  <c:v>0.92123818006476521</c:v>
                </c:pt>
                <c:pt idx="43">
                  <c:v>1.2021034788649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L$2:$L$45</c:f>
              <c:numCache>
                <c:formatCode>General</c:formatCode>
                <c:ptCount val="44"/>
                <c:pt idx="0">
                  <c:v>11.121548632590022</c:v>
                </c:pt>
                <c:pt idx="1">
                  <c:v>11.176515100296397</c:v>
                </c:pt>
                <c:pt idx="2">
                  <c:v>11.3963809711219</c:v>
                </c:pt>
                <c:pt idx="3">
                  <c:v>11.616246841947403</c:v>
                </c:pt>
                <c:pt idx="4">
                  <c:v>11.946045648185658</c:v>
                </c:pt>
                <c:pt idx="5">
                  <c:v>12.459066013445165</c:v>
                </c:pt>
                <c:pt idx="6">
                  <c:v>12.440743857543039</c:v>
                </c:pt>
                <c:pt idx="7">
                  <c:v>12.110945051304784</c:v>
                </c:pt>
                <c:pt idx="8">
                  <c:v>12.055978583598408</c:v>
                </c:pt>
                <c:pt idx="9">
                  <c:v>11.597924686045278</c:v>
                </c:pt>
                <c:pt idx="10">
                  <c:v>9.380943821888124</c:v>
                </c:pt>
                <c:pt idx="11">
                  <c:v>8.7030240535094894</c:v>
                </c:pt>
                <c:pt idx="12">
                  <c:v>7.4021509844585971</c:v>
                </c:pt>
                <c:pt idx="13">
                  <c:v>5.4600024588333218</c:v>
                </c:pt>
                <c:pt idx="14">
                  <c:v>5.0935593407908168</c:v>
                </c:pt>
                <c:pt idx="15">
                  <c:v>4.0675186102718035</c:v>
                </c:pt>
                <c:pt idx="16">
                  <c:v>3.2063772828719173</c:v>
                </c:pt>
                <c:pt idx="17">
                  <c:v>1.7772491225061484</c:v>
                </c:pt>
                <c:pt idx="18">
                  <c:v>1.8322155902125243</c:v>
                </c:pt>
                <c:pt idx="19">
                  <c:v>0.9527521069105126</c:v>
                </c:pt>
                <c:pt idx="20">
                  <c:v>0.87946348330201152</c:v>
                </c:pt>
                <c:pt idx="21">
                  <c:v>0.60463114477013291</c:v>
                </c:pt>
                <c:pt idx="22">
                  <c:v>0.32979880623825436</c:v>
                </c:pt>
                <c:pt idx="23">
                  <c:v>0.21986587082550288</c:v>
                </c:pt>
                <c:pt idx="24">
                  <c:v>0.21986587082550288</c:v>
                </c:pt>
                <c:pt idx="25">
                  <c:v>0.16489940311912718</c:v>
                </c:pt>
                <c:pt idx="26" formatCode="0.00000">
                  <c:v>0</c:v>
                </c:pt>
                <c:pt idx="27">
                  <c:v>1.8322155902125242E-2</c:v>
                </c:pt>
                <c:pt idx="28">
                  <c:v>1.8322155902125242E-2</c:v>
                </c:pt>
                <c:pt idx="29">
                  <c:v>7.3288623608500969E-2</c:v>
                </c:pt>
                <c:pt idx="30">
                  <c:v>1.8322155902125242E-2</c:v>
                </c:pt>
                <c:pt idx="31">
                  <c:v>1.8322155902125242E-2</c:v>
                </c:pt>
                <c:pt idx="32">
                  <c:v>1.8322155902125242E-2</c:v>
                </c:pt>
                <c:pt idx="33">
                  <c:v>5.496646770637572E-2</c:v>
                </c:pt>
                <c:pt idx="34">
                  <c:v>5.496646770637572E-2</c:v>
                </c:pt>
                <c:pt idx="35">
                  <c:v>0.42140958574888054</c:v>
                </c:pt>
                <c:pt idx="36">
                  <c:v>0.56798683296588248</c:v>
                </c:pt>
                <c:pt idx="37">
                  <c:v>1.0443628864211387</c:v>
                </c:pt>
                <c:pt idx="38">
                  <c:v>1.3558395367572678</c:v>
                </c:pt>
                <c:pt idx="39">
                  <c:v>1.3008730690508921</c:v>
                </c:pt>
                <c:pt idx="40">
                  <c:v>1.5940275634848959</c:v>
                </c:pt>
                <c:pt idx="41">
                  <c:v>0.86114132739988636</c:v>
                </c:pt>
                <c:pt idx="42">
                  <c:v>0.97107426281263776</c:v>
                </c:pt>
                <c:pt idx="43">
                  <c:v>1.2825509131487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5</c:f>
              <c:numCache>
                <c:formatCode>General</c:formatCode>
                <c:ptCount val="44"/>
                <c:pt idx="0">
                  <c:v>3.3296280657560979</c:v>
                </c:pt>
                <c:pt idx="1">
                  <c:v>4.8592287761668942</c:v>
                </c:pt>
                <c:pt idx="2">
                  <c:v>7.1346154683111305</c:v>
                </c:pt>
                <c:pt idx="3">
                  <c:v>8.0050512316940701</c:v>
                </c:pt>
                <c:pt idx="4">
                  <c:v>6.8515125743953202</c:v>
                </c:pt>
                <c:pt idx="5">
                  <c:v>5.1402189619191541</c:v>
                </c:pt>
                <c:pt idx="6">
                  <c:v>3.545124298438282</c:v>
                </c:pt>
                <c:pt idx="7">
                  <c:v>2.763422277924477</c:v>
                </c:pt>
                <c:pt idx="8">
                  <c:v>1.9415788023032068</c:v>
                </c:pt>
                <c:pt idx="9">
                  <c:v>1.495797379793983</c:v>
                </c:pt>
                <c:pt idx="10">
                  <c:v>1.221145318532376</c:v>
                </c:pt>
                <c:pt idx="11">
                  <c:v>1.0669176225931658</c:v>
                </c:pt>
                <c:pt idx="12">
                  <c:v>1.1112844940277331</c:v>
                </c:pt>
                <c:pt idx="13">
                  <c:v>1.1683276144436054</c:v>
                </c:pt>
                <c:pt idx="14">
                  <c:v>1.1767784470978087</c:v>
                </c:pt>
                <c:pt idx="15">
                  <c:v>1.0859319960651233</c:v>
                </c:pt>
                <c:pt idx="16">
                  <c:v>0.90635180216330336</c:v>
                </c:pt>
                <c:pt idx="17">
                  <c:v>0.9253661756352608</c:v>
                </c:pt>
                <c:pt idx="18">
                  <c:v>0.71620806744372922</c:v>
                </c:pt>
                <c:pt idx="19">
                  <c:v>0.54719141435966334</c:v>
                </c:pt>
                <c:pt idx="20">
                  <c:v>0.38662559392980073</c:v>
                </c:pt>
                <c:pt idx="21">
                  <c:v>0.43521788169146963</c:v>
                </c:pt>
                <c:pt idx="22">
                  <c:v>0.29155372657001366</c:v>
                </c:pt>
                <c:pt idx="23">
                  <c:v>0.24718685513544633</c:v>
                </c:pt>
                <c:pt idx="24">
                  <c:v>0.23873602248124307</c:v>
                </c:pt>
                <c:pt idx="25">
                  <c:v>0.17958019390182001</c:v>
                </c:pt>
                <c:pt idx="26">
                  <c:v>0.17535477757471835</c:v>
                </c:pt>
                <c:pt idx="27">
                  <c:v>0.31901893269617437</c:v>
                </c:pt>
                <c:pt idx="28">
                  <c:v>0.71620806744372922</c:v>
                </c:pt>
                <c:pt idx="29">
                  <c:v>1.054241373611861</c:v>
                </c:pt>
                <c:pt idx="30">
                  <c:v>1.2824138552753499</c:v>
                </c:pt>
                <c:pt idx="31">
                  <c:v>1.5528405002098553</c:v>
                </c:pt>
                <c:pt idx="32">
                  <c:v>1.4155144695790518</c:v>
                </c:pt>
                <c:pt idx="33">
                  <c:v>1.2232580266959268</c:v>
                </c:pt>
                <c:pt idx="34">
                  <c:v>1.0479032491212086</c:v>
                </c:pt>
                <c:pt idx="35">
                  <c:v>0.81973076745771967</c:v>
                </c:pt>
                <c:pt idx="36">
                  <c:v>0.68240473682691605</c:v>
                </c:pt>
                <c:pt idx="37">
                  <c:v>0.47535933679893527</c:v>
                </c:pt>
                <c:pt idx="38">
                  <c:v>0.36972392862139414</c:v>
                </c:pt>
                <c:pt idx="39">
                  <c:v>0.27253935309805627</c:v>
                </c:pt>
                <c:pt idx="40">
                  <c:v>0.23662331431769223</c:v>
                </c:pt>
                <c:pt idx="41">
                  <c:v>0.24296143880834473</c:v>
                </c:pt>
                <c:pt idx="42">
                  <c:v>0.20070727553732826</c:v>
                </c:pt>
                <c:pt idx="43">
                  <c:v>9.08464510326854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H$2:$H$45</c:f>
              <c:numCache>
                <c:formatCode>General</c:formatCode>
                <c:ptCount val="44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  <c:pt idx="42">
                  <c:v>1.6147549400738583</c:v>
                </c:pt>
                <c:pt idx="43">
                  <c:v>1.7234827522353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Německo</c:v>
                </c:pt>
                <c:pt idx="7">
                  <c:v>Chorvatsko</c:v>
                </c:pt>
                <c:pt idx="8">
                  <c:v>Belgie</c:v>
                </c:pt>
                <c:pt idx="9">
                  <c:v>Španělsko</c:v>
                </c:pt>
                <c:pt idx="10">
                  <c:v>Česká republika</c:v>
                </c:pt>
                <c:pt idx="11">
                  <c:v>Francie</c:v>
                </c:pt>
                <c:pt idx="12">
                  <c:v>Lotyšsko</c:v>
                </c:pt>
                <c:pt idx="13">
                  <c:v>Portugalsko</c:v>
                </c:pt>
                <c:pt idx="14">
                  <c:v>Lichtenštejnsko</c:v>
                </c:pt>
                <c:pt idx="15">
                  <c:v>Slovensko</c:v>
                </c:pt>
                <c:pt idx="16">
                  <c:v>Velká Británie</c:v>
                </c:pt>
                <c:pt idx="17">
                  <c:v>Litva</c:v>
                </c:pt>
                <c:pt idx="18">
                  <c:v>Slovinsko</c:v>
                </c:pt>
                <c:pt idx="19">
                  <c:v>Malta</c:v>
                </c:pt>
                <c:pt idx="20">
                  <c:v>Švédsko</c:v>
                </c:pt>
                <c:pt idx="21">
                  <c:v>Rakousko</c:v>
                </c:pt>
                <c:pt idx="22">
                  <c:v>Irsko</c:v>
                </c:pt>
                <c:pt idx="23">
                  <c:v>Lucembursko</c:v>
                </c:pt>
                <c:pt idx="24">
                  <c:v>Finsko</c:v>
                </c:pt>
                <c:pt idx="25">
                  <c:v>Nizozemsko</c:v>
                </c:pt>
                <c:pt idx="26">
                  <c:v>Eston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3.9595823317593183E-2</c:v>
                </c:pt>
                <c:pt idx="1">
                  <c:v>3.3261984137623365E-2</c:v>
                </c:pt>
                <c:pt idx="2">
                  <c:v>2.9932868809206429E-2</c:v>
                </c:pt>
                <c:pt idx="3">
                  <c:v>2.7649195308368384E-2</c:v>
                </c:pt>
                <c:pt idx="4">
                  <c:v>2.5335143511542479E-2</c:v>
                </c:pt>
                <c:pt idx="5">
                  <c:v>2.0735094550204829E-2</c:v>
                </c:pt>
                <c:pt idx="6">
                  <c:v>2.013264430822018E-2</c:v>
                </c:pt>
                <c:pt idx="7">
                  <c:v>1.8994406738179235E-2</c:v>
                </c:pt>
                <c:pt idx="8">
                  <c:v>1.8028216021527058E-2</c:v>
                </c:pt>
                <c:pt idx="9">
                  <c:v>1.7398757819275662E-2</c:v>
                </c:pt>
                <c:pt idx="10">
                  <c:v>1.7081467490074796E-2</c:v>
                </c:pt>
                <c:pt idx="11">
                  <c:v>1.6920737780481282E-2</c:v>
                </c:pt>
                <c:pt idx="12">
                  <c:v>1.6754233851834596E-2</c:v>
                </c:pt>
                <c:pt idx="13">
                  <c:v>1.6579138842775017E-2</c:v>
                </c:pt>
                <c:pt idx="14">
                  <c:v>1.6464237516869096E-2</c:v>
                </c:pt>
                <c:pt idx="15">
                  <c:v>1.566747219125747E-2</c:v>
                </c:pt>
                <c:pt idx="16">
                  <c:v>1.5244720196682209E-2</c:v>
                </c:pt>
                <c:pt idx="17">
                  <c:v>1.4510774460076767E-2</c:v>
                </c:pt>
                <c:pt idx="18">
                  <c:v>1.4387200429936573E-2</c:v>
                </c:pt>
                <c:pt idx="19">
                  <c:v>1.3115442121553918E-2</c:v>
                </c:pt>
                <c:pt idx="20">
                  <c:v>1.278049624986634E-2</c:v>
                </c:pt>
                <c:pt idx="21">
                  <c:v>1.2597151390001364E-2</c:v>
                </c:pt>
                <c:pt idx="22">
                  <c:v>1.1067092005085507E-2</c:v>
                </c:pt>
                <c:pt idx="23">
                  <c:v>1.0639300610316468E-2</c:v>
                </c:pt>
                <c:pt idx="24">
                  <c:v>1.0032043381809219E-2</c:v>
                </c:pt>
                <c:pt idx="25">
                  <c:v>8.4518663440157678E-3</c:v>
                </c:pt>
                <c:pt idx="26">
                  <c:v>7.8296896781181544E-3</c:v>
                </c:pt>
                <c:pt idx="27">
                  <c:v>6.8574403227501836E-3</c:v>
                </c:pt>
                <c:pt idx="28" formatCode="0.0000000">
                  <c:v>5.6006272702542681E-3</c:v>
                </c:pt>
                <c:pt idx="29">
                  <c:v>5.389683786838695E-3</c:v>
                </c:pt>
                <c:pt idx="30">
                  <c:v>2.33548564363236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Francie</c:v>
                </c:pt>
                <c:pt idx="7">
                  <c:v>Dánsko</c:v>
                </c:pt>
                <c:pt idx="8">
                  <c:v>Finsko</c:v>
                </c:pt>
                <c:pt idx="9">
                  <c:v>Itálie</c:v>
                </c:pt>
                <c:pt idx="10">
                  <c:v>Nizozemsko</c:v>
                </c:pt>
                <c:pt idx="11">
                  <c:v>Belgie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chtenštejnsko</c:v>
                </c:pt>
                <c:pt idx="18">
                  <c:v>Litva</c:v>
                </c:pt>
                <c:pt idx="19">
                  <c:v>Řecko</c:v>
                </c:pt>
                <c:pt idx="20">
                  <c:v>Estonsko</c:v>
                </c:pt>
                <c:pt idx="21">
                  <c:v>Lotyšsko</c:v>
                </c:pt>
                <c:pt idx="22">
                  <c:v>Maďarsko</c:v>
                </c:pt>
                <c:pt idx="23">
                  <c:v>Česká republika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8799999999999999</c:v>
                </c:pt>
                <c:pt idx="1">
                  <c:v>0.93799999999999994</c:v>
                </c:pt>
                <c:pt idx="2">
                  <c:v>0.93</c:v>
                </c:pt>
                <c:pt idx="3">
                  <c:v>0.92300000000000004</c:v>
                </c:pt>
                <c:pt idx="4">
                  <c:v>0.92</c:v>
                </c:pt>
                <c:pt idx="5">
                  <c:v>0.91200000000000003</c:v>
                </c:pt>
                <c:pt idx="6">
                  <c:v>0.9</c:v>
                </c:pt>
                <c:pt idx="7">
                  <c:v>0.89600000000000002</c:v>
                </c:pt>
                <c:pt idx="8">
                  <c:v>0.88300000000000001</c:v>
                </c:pt>
                <c:pt idx="9">
                  <c:v>0.879</c:v>
                </c:pt>
                <c:pt idx="10">
                  <c:v>0.879</c:v>
                </c:pt>
                <c:pt idx="11">
                  <c:v>0.878</c:v>
                </c:pt>
                <c:pt idx="12">
                  <c:v>0.85899999999999999</c:v>
                </c:pt>
                <c:pt idx="13">
                  <c:v>0.83399999999999996</c:v>
                </c:pt>
                <c:pt idx="14">
                  <c:v>0.81899999999999995</c:v>
                </c:pt>
                <c:pt idx="15">
                  <c:v>0.78600000000000003</c:v>
                </c:pt>
                <c:pt idx="16">
                  <c:v>0.78100000000000003</c:v>
                </c:pt>
                <c:pt idx="17">
                  <c:v>0.76100000000000001</c:v>
                </c:pt>
                <c:pt idx="18">
                  <c:v>0.76100000000000001</c:v>
                </c:pt>
                <c:pt idx="19">
                  <c:v>0.72899999999999998</c:v>
                </c:pt>
                <c:pt idx="20">
                  <c:v>0.71</c:v>
                </c:pt>
                <c:pt idx="21">
                  <c:v>0.70899999999999996</c:v>
                </c:pt>
                <c:pt idx="22">
                  <c:v>0.69799999999999995</c:v>
                </c:pt>
                <c:pt idx="23">
                  <c:v>0.69599999999999995</c:v>
                </c:pt>
                <c:pt idx="24">
                  <c:v>0.67</c:v>
                </c:pt>
                <c:pt idx="25">
                  <c:v>0.66200000000000003</c:v>
                </c:pt>
                <c:pt idx="26">
                  <c:v>0.57599999999999996</c:v>
                </c:pt>
                <c:pt idx="27">
                  <c:v>0.54800000000000004</c:v>
                </c:pt>
                <c:pt idx="28">
                  <c:v>0.45500000000000002</c:v>
                </c:pt>
                <c:pt idx="29">
                  <c:v>0.300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Malta</c:v>
                </c:pt>
                <c:pt idx="2">
                  <c:v>Portugalsko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Finsko</c:v>
                </c:pt>
                <c:pt idx="9">
                  <c:v>Švédsko</c:v>
                </c:pt>
                <c:pt idx="10">
                  <c:v>Itálie</c:v>
                </c:pt>
                <c:pt idx="11">
                  <c:v>Francie</c:v>
                </c:pt>
                <c:pt idx="12">
                  <c:v>Německo</c:v>
                </c:pt>
                <c:pt idx="13">
                  <c:v>Nizozems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Lichtenštejnsko</c:v>
                </c:pt>
                <c:pt idx="19">
                  <c:v>Řecko</c:v>
                </c:pt>
                <c:pt idx="20">
                  <c:v>Česká republika</c:v>
                </c:pt>
                <c:pt idx="21">
                  <c:v>Maďarsko</c:v>
                </c:pt>
                <c:pt idx="22">
                  <c:v>Estonsko</c:v>
                </c:pt>
                <c:pt idx="23">
                  <c:v>Slovinsko</c:v>
                </c:pt>
                <c:pt idx="24">
                  <c:v>Lotyš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2400000000000004</c:v>
                </c:pt>
                <c:pt idx="1">
                  <c:v>0.91800000000000004</c:v>
                </c:pt>
                <c:pt idx="2">
                  <c:v>0.91700000000000004</c:v>
                </c:pt>
                <c:pt idx="3">
                  <c:v>0.91300000000000003</c:v>
                </c:pt>
                <c:pt idx="4">
                  <c:v>0.88400000000000001</c:v>
                </c:pt>
                <c:pt idx="5">
                  <c:v>0.878</c:v>
                </c:pt>
                <c:pt idx="6">
                  <c:v>0.86599999999999999</c:v>
                </c:pt>
                <c:pt idx="7">
                  <c:v>0.84199999999999997</c:v>
                </c:pt>
                <c:pt idx="8">
                  <c:v>0.82799999999999996</c:v>
                </c:pt>
                <c:pt idx="9">
                  <c:v>0.82499999999999996</c:v>
                </c:pt>
                <c:pt idx="10">
                  <c:v>0.81499999999999995</c:v>
                </c:pt>
                <c:pt idx="11">
                  <c:v>0.81200000000000006</c:v>
                </c:pt>
                <c:pt idx="12">
                  <c:v>0.80300000000000005</c:v>
                </c:pt>
                <c:pt idx="13">
                  <c:v>0.80100000000000005</c:v>
                </c:pt>
                <c:pt idx="14">
                  <c:v>0.79800000000000004</c:v>
                </c:pt>
                <c:pt idx="15">
                  <c:v>0.75600000000000001</c:v>
                </c:pt>
                <c:pt idx="16">
                  <c:v>0.73699999999999999</c:v>
                </c:pt>
                <c:pt idx="17">
                  <c:v>0.72199999999999998</c:v>
                </c:pt>
                <c:pt idx="18">
                  <c:v>0.71099999999999997</c:v>
                </c:pt>
                <c:pt idx="19">
                  <c:v>0.70299999999999996</c:v>
                </c:pt>
                <c:pt idx="20">
                  <c:v>0.67700000000000005</c:v>
                </c:pt>
                <c:pt idx="21">
                  <c:v>0.67400000000000004</c:v>
                </c:pt>
                <c:pt idx="22">
                  <c:v>0.66500000000000004</c:v>
                </c:pt>
                <c:pt idx="23">
                  <c:v>0.63500000000000001</c:v>
                </c:pt>
                <c:pt idx="24">
                  <c:v>0.63100000000000001</c:v>
                </c:pt>
                <c:pt idx="25">
                  <c:v>0.61799999999999999</c:v>
                </c:pt>
                <c:pt idx="26">
                  <c:v>0.53900000000000003</c:v>
                </c:pt>
                <c:pt idx="27">
                  <c:v>0.53500000000000003</c:v>
                </c:pt>
                <c:pt idx="28">
                  <c:v>0.41</c:v>
                </c:pt>
                <c:pt idx="29">
                  <c:v>0.27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78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65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39534176716966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78100000000000003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36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30099999999999999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272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294595234922393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57599999999999996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3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1899999999999995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79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8087941338238212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69599999999999995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896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4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71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6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7008869485578133E-2"/>
                  <c:y val="3.733098177542617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8300000000000001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27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9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120000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246E-2"/>
                  <c:y val="5.331422692533761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3399999999999996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03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854186199078862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2899999999999998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02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716693978608152E-2"/>
                  <c:y val="-4.666372721928281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69799999999999995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74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3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3799999999999994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957092122124164E-2"/>
                  <c:y val="5.06652336860669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79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1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70899999999999996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63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975323352821563E-3"/>
                  <c:y val="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6100000000000001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10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419444593899813E-2"/>
                  <c:y val="-2.09986772486772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6100000000000001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2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8600000000000003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56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1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06863179341517E-2"/>
                  <c:y val="6.06628453850676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79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2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6200000000000003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1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87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5500000000000002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4800000000000004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35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9.3327454438565122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7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35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6156419876077406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1200000000000003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41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565097772453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5899999999999999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24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I$2:$I$45</c:f>
              <c:numCache>
                <c:formatCode>General</c:formatCode>
                <c:ptCount val="44"/>
                <c:pt idx="0">
                  <c:v>207.38662991519158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10826873474718</c:v>
                </c:pt>
                <c:pt idx="9">
                  <c:v>332.02168985041362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998660006042</c:v>
                </c:pt>
                <c:pt idx="16">
                  <c:v>396.72152773197342</c:v>
                </c:pt>
                <c:pt idx="17">
                  <c:v>366.71920183572229</c:v>
                </c:pt>
                <c:pt idx="18">
                  <c:v>313.70959623135377</c:v>
                </c:pt>
                <c:pt idx="19">
                  <c:v>279.57620087412045</c:v>
                </c:pt>
                <c:pt idx="20">
                  <c:v>256.29988092799789</c:v>
                </c:pt>
                <c:pt idx="21">
                  <c:v>185.29929424670468</c:v>
                </c:pt>
                <c:pt idx="22">
                  <c:v>124.98220862942225</c:v>
                </c:pt>
                <c:pt idx="23">
                  <c:v>72.120141220088797</c:v>
                </c:pt>
                <c:pt idx="24">
                  <c:v>47.594085974845605</c:v>
                </c:pt>
                <c:pt idx="25">
                  <c:v>56.81088380586057</c:v>
                </c:pt>
                <c:pt idx="26">
                  <c:v>100.68180003540915</c:v>
                </c:pt>
                <c:pt idx="27">
                  <c:v>147.9894883375396</c:v>
                </c:pt>
                <c:pt idx="28">
                  <c:v>172.97551560259808</c:v>
                </c:pt>
                <c:pt idx="29">
                  <c:v>188.09384123501621</c:v>
                </c:pt>
                <c:pt idx="30">
                  <c:v>204.09739603764481</c:v>
                </c:pt>
                <c:pt idx="31">
                  <c:v>222.01894737572943</c:v>
                </c:pt>
                <c:pt idx="32">
                  <c:v>235.81810797018687</c:v>
                </c:pt>
                <c:pt idx="33">
                  <c:v>242.43996931205544</c:v>
                </c:pt>
                <c:pt idx="34">
                  <c:v>241.82378037985009</c:v>
                </c:pt>
                <c:pt idx="35">
                  <c:v>238.65604854527339</c:v>
                </c:pt>
                <c:pt idx="36">
                  <c:v>244.84397401939171</c:v>
                </c:pt>
                <c:pt idx="37">
                  <c:v>243.80252793679117</c:v>
                </c:pt>
                <c:pt idx="38">
                  <c:v>233.6744647835007</c:v>
                </c:pt>
                <c:pt idx="39">
                  <c:v>244.76586556319668</c:v>
                </c:pt>
                <c:pt idx="40">
                  <c:v>327.35253991342114</c:v>
                </c:pt>
                <c:pt idx="41">
                  <c:v>544.46801198357298</c:v>
                </c:pt>
                <c:pt idx="42">
                  <c:v>818.38568914223026</c:v>
                </c:pt>
                <c:pt idx="43">
                  <c:v>943.36789777165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C$2:$C$45</c:f>
              <c:numCache>
                <c:formatCode>General</c:formatCode>
                <c:ptCount val="44"/>
                <c:pt idx="0">
                  <c:v>1509.0417104492553</c:v>
                </c:pt>
                <c:pt idx="1">
                  <c:v>1359.1250146461466</c:v>
                </c:pt>
                <c:pt idx="2">
                  <c:v>978.27376797268062</c:v>
                </c:pt>
                <c:pt idx="3">
                  <c:v>893.66509384427945</c:v>
                </c:pt>
                <c:pt idx="4">
                  <c:v>911.48827387176971</c:v>
                </c:pt>
                <c:pt idx="5">
                  <c:v>968.73565484149481</c:v>
                </c:pt>
                <c:pt idx="6">
                  <c:v>1120.5506221795356</c:v>
                </c:pt>
                <c:pt idx="7">
                  <c:v>1395.7812925620765</c:v>
                </c:pt>
                <c:pt idx="8">
                  <c:v>1573.7699644630479</c:v>
                </c:pt>
                <c:pt idx="9">
                  <c:v>1519.8422209066275</c:v>
                </c:pt>
                <c:pt idx="10">
                  <c:v>1329.369842113369</c:v>
                </c:pt>
                <c:pt idx="11">
                  <c:v>1070.1108356799118</c:v>
                </c:pt>
                <c:pt idx="12">
                  <c:v>808.71978042889521</c:v>
                </c:pt>
                <c:pt idx="13">
                  <c:v>602.34119532568866</c:v>
                </c:pt>
                <c:pt idx="14">
                  <c:v>457.33382245774919</c:v>
                </c:pt>
                <c:pt idx="15">
                  <c:v>364.73931635480625</c:v>
                </c:pt>
                <c:pt idx="16">
                  <c:v>298.131492988692</c:v>
                </c:pt>
                <c:pt idx="17">
                  <c:v>236.01219344901816</c:v>
                </c:pt>
                <c:pt idx="18">
                  <c:v>172.71465640490374</c:v>
                </c:pt>
                <c:pt idx="19">
                  <c:v>118.05752772668706</c:v>
                </c:pt>
                <c:pt idx="20">
                  <c:v>76.557384514723708</c:v>
                </c:pt>
                <c:pt idx="21">
                  <c:v>51.795694738860959</c:v>
                </c:pt>
                <c:pt idx="22">
                  <c:v>35.169454398421387</c:v>
                </c:pt>
                <c:pt idx="23">
                  <c:v>21.965713475642605</c:v>
                </c:pt>
                <c:pt idx="24">
                  <c:v>15.204874462066783</c:v>
                </c:pt>
                <c:pt idx="25">
                  <c:v>15.915557401253178</c:v>
                </c:pt>
                <c:pt idx="26">
                  <c:v>22.143384210439205</c:v>
                </c:pt>
                <c:pt idx="27">
                  <c:v>27.744687902184591</c:v>
                </c:pt>
                <c:pt idx="28">
                  <c:v>27.585719349998161</c:v>
                </c:pt>
                <c:pt idx="29">
                  <c:v>23.555398997506906</c:v>
                </c:pt>
                <c:pt idx="30">
                  <c:v>22.199490758269707</c:v>
                </c:pt>
                <c:pt idx="31">
                  <c:v>23.115897706167953</c:v>
                </c:pt>
                <c:pt idx="32">
                  <c:v>24.079060110591616</c:v>
                </c:pt>
                <c:pt idx="33">
                  <c:v>24.425050488879727</c:v>
                </c:pt>
                <c:pt idx="34">
                  <c:v>28.64239266747267</c:v>
                </c:pt>
                <c:pt idx="35">
                  <c:v>40.705300451031185</c:v>
                </c:pt>
                <c:pt idx="36">
                  <c:v>52.871070238945634</c:v>
                </c:pt>
                <c:pt idx="37">
                  <c:v>58.87447085680963</c:v>
                </c:pt>
                <c:pt idx="38">
                  <c:v>72.349393427435857</c:v>
                </c:pt>
                <c:pt idx="39">
                  <c:v>97.746957412044338</c:v>
                </c:pt>
                <c:pt idx="40">
                  <c:v>145.73675798973605</c:v>
                </c:pt>
                <c:pt idx="41">
                  <c:v>291.239738696845</c:v>
                </c:pt>
                <c:pt idx="42">
                  <c:v>522.29585375416866</c:v>
                </c:pt>
                <c:pt idx="43">
                  <c:v>820.23097382545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D$2:$D$45</c:f>
              <c:numCache>
                <c:formatCode>General</c:formatCode>
                <c:ptCount val="44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3.043373479372079</c:v>
                </c:pt>
                <c:pt idx="40">
                  <c:v>91.963460129123774</c:v>
                </c:pt>
                <c:pt idx="41">
                  <c:v>101.99165136368546</c:v>
                </c:pt>
                <c:pt idx="42">
                  <c:v>112.2307747794511</c:v>
                </c:pt>
                <c:pt idx="43">
                  <c:v>131.18050601620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F$2:$F$45</c:f>
              <c:numCache>
                <c:formatCode>General</c:formatCode>
                <c:ptCount val="44"/>
                <c:pt idx="0">
                  <c:v>399.53731536677952</c:v>
                </c:pt>
                <c:pt idx="1">
                  <c:v>362.30987395887905</c:v>
                </c:pt>
                <c:pt idx="2">
                  <c:v>300.19371750081086</c:v>
                </c:pt>
                <c:pt idx="3">
                  <c:v>281.08956637701596</c:v>
                </c:pt>
                <c:pt idx="4">
                  <c:v>278.23584817333864</c:v>
                </c:pt>
                <c:pt idx="5">
                  <c:v>279.35084382871196</c:v>
                </c:pt>
                <c:pt idx="6">
                  <c:v>290.20402710274436</c:v>
                </c:pt>
                <c:pt idx="7">
                  <c:v>354.25004822146622</c:v>
                </c:pt>
                <c:pt idx="8">
                  <c:v>442.80082348046045</c:v>
                </c:pt>
                <c:pt idx="9">
                  <c:v>500.68167313330616</c:v>
                </c:pt>
                <c:pt idx="10">
                  <c:v>511.97582461389965</c:v>
                </c:pt>
                <c:pt idx="11">
                  <c:v>492.59166706236442</c:v>
                </c:pt>
                <c:pt idx="12">
                  <c:v>462.58067873826354</c:v>
                </c:pt>
                <c:pt idx="13">
                  <c:v>389.28438539293319</c:v>
                </c:pt>
                <c:pt idx="14">
                  <c:v>332.89075550898394</c:v>
                </c:pt>
                <c:pt idx="15">
                  <c:v>317.02093012836968</c:v>
                </c:pt>
                <c:pt idx="16">
                  <c:v>283.71860876442253</c:v>
                </c:pt>
                <c:pt idx="17">
                  <c:v>237.5091647612816</c:v>
                </c:pt>
                <c:pt idx="18">
                  <c:v>181.20439919272303</c:v>
                </c:pt>
                <c:pt idx="19">
                  <c:v>125.38084227543082</c:v>
                </c:pt>
                <c:pt idx="20">
                  <c:v>88.564188740562614</c:v>
                </c:pt>
                <c:pt idx="21">
                  <c:v>64.835739846061514</c:v>
                </c:pt>
                <c:pt idx="22">
                  <c:v>46.658795635682331</c:v>
                </c:pt>
                <c:pt idx="23">
                  <c:v>31.803364798678398</c:v>
                </c:pt>
                <c:pt idx="24">
                  <c:v>21.243601433954833</c:v>
                </c:pt>
                <c:pt idx="25">
                  <c:v>18.267485210965898</c:v>
                </c:pt>
                <c:pt idx="26">
                  <c:v>24.184507267826717</c:v>
                </c:pt>
                <c:pt idx="27">
                  <c:v>46.340225448432811</c:v>
                </c:pt>
                <c:pt idx="28">
                  <c:v>83.975101358973475</c:v>
                </c:pt>
                <c:pt idx="29">
                  <c:v>116.69058290430313</c:v>
                </c:pt>
                <c:pt idx="30">
                  <c:v>135.57676495261151</c:v>
                </c:pt>
                <c:pt idx="31">
                  <c:v>143.55610980061397</c:v>
                </c:pt>
                <c:pt idx="32">
                  <c:v>148.21226459004509</c:v>
                </c:pt>
                <c:pt idx="33">
                  <c:v>153.0847117697667</c:v>
                </c:pt>
                <c:pt idx="34">
                  <c:v>144.1530097304078</c:v>
                </c:pt>
                <c:pt idx="35">
                  <c:v>122.31250836665913</c:v>
                </c:pt>
                <c:pt idx="36">
                  <c:v>103.72477628324766</c:v>
                </c:pt>
                <c:pt idx="37">
                  <c:v>87.999145829493727</c:v>
                </c:pt>
                <c:pt idx="38">
                  <c:v>74.56722072393633</c:v>
                </c:pt>
                <c:pt idx="39">
                  <c:v>64.969874661745521</c:v>
                </c:pt>
                <c:pt idx="40">
                  <c:v>59.894548573301861</c:v>
                </c:pt>
                <c:pt idx="41">
                  <c:v>72.293635598092379</c:v>
                </c:pt>
                <c:pt idx="42">
                  <c:v>95.403387655250995</c:v>
                </c:pt>
                <c:pt idx="43">
                  <c:v>94.476180741835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K$2:$K$45</c:f>
              <c:numCache>
                <c:formatCode>General</c:formatCode>
                <c:ptCount val="44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1710901839047</c:v>
                </c:pt>
                <c:pt idx="42">
                  <c:v>391.42124193128711</c:v>
                </c:pt>
                <c:pt idx="43">
                  <c:v>608.88317406596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E$2:$E$45</c:f>
              <c:numCache>
                <c:formatCode>General</c:formatCode>
                <c:ptCount val="44"/>
                <c:pt idx="0">
                  <c:v>312.23911211301839</c:v>
                </c:pt>
                <c:pt idx="1">
                  <c:v>317.82187466809887</c:v>
                </c:pt>
                <c:pt idx="2">
                  <c:v>257.79545376033929</c:v>
                </c:pt>
                <c:pt idx="3">
                  <c:v>208.78666224999569</c:v>
                </c:pt>
                <c:pt idx="4">
                  <c:v>171.55541957166011</c:v>
                </c:pt>
                <c:pt idx="5">
                  <c:v>138.70573768391537</c:v>
                </c:pt>
                <c:pt idx="6">
                  <c:v>124.07969337635583</c:v>
                </c:pt>
                <c:pt idx="7">
                  <c:v>130.74582208739744</c:v>
                </c:pt>
                <c:pt idx="8">
                  <c:v>137.93980622848002</c:v>
                </c:pt>
                <c:pt idx="9">
                  <c:v>155.93017739994551</c:v>
                </c:pt>
                <c:pt idx="10">
                  <c:v>197.06322160557727</c:v>
                </c:pt>
                <c:pt idx="11">
                  <c:v>251.12211062428571</c:v>
                </c:pt>
                <c:pt idx="12">
                  <c:v>272.18462444667318</c:v>
                </c:pt>
                <c:pt idx="13">
                  <c:v>274.5846231673151</c:v>
                </c:pt>
                <c:pt idx="14">
                  <c:v>313.01947241847762</c:v>
                </c:pt>
                <c:pt idx="15">
                  <c:v>344.87115884623597</c:v>
                </c:pt>
                <c:pt idx="16">
                  <c:v>324.1092460660131</c:v>
                </c:pt>
                <c:pt idx="17">
                  <c:v>271.47761079550207</c:v>
                </c:pt>
                <c:pt idx="18">
                  <c:v>206.57303617549576</c:v>
                </c:pt>
                <c:pt idx="19">
                  <c:v>148.51254608349245</c:v>
                </c:pt>
                <c:pt idx="20">
                  <c:v>99.278904993609757</c:v>
                </c:pt>
                <c:pt idx="21">
                  <c:v>60.775518704833722</c:v>
                </c:pt>
                <c:pt idx="22">
                  <c:v>41.728234269117607</c:v>
                </c:pt>
                <c:pt idx="23">
                  <c:v>25.607601579915794</c:v>
                </c:pt>
                <c:pt idx="24">
                  <c:v>14.529851974066883</c:v>
                </c:pt>
                <c:pt idx="25">
                  <c:v>9.9955858540564382</c:v>
                </c:pt>
                <c:pt idx="26">
                  <c:v>10.900996193056137</c:v>
                </c:pt>
                <c:pt idx="27">
                  <c:v>17.632054729205294</c:v>
                </c:pt>
                <c:pt idx="28">
                  <c:v>26.116218543258249</c:v>
                </c:pt>
                <c:pt idx="29">
                  <c:v>33.811605222671361</c:v>
                </c:pt>
                <c:pt idx="30">
                  <c:v>43.160297633989636</c:v>
                </c:pt>
                <c:pt idx="31">
                  <c:v>63.069705858633753</c:v>
                </c:pt>
                <c:pt idx="32">
                  <c:v>98.187122008468037</c:v>
                </c:pt>
                <c:pt idx="33">
                  <c:v>139.38990565588196</c:v>
                </c:pt>
                <c:pt idx="34">
                  <c:v>169.52215412245891</c:v>
                </c:pt>
                <c:pt idx="35">
                  <c:v>175.92736112890168</c:v>
                </c:pt>
                <c:pt idx="36">
                  <c:v>160.00752993586582</c:v>
                </c:pt>
                <c:pt idx="37">
                  <c:v>138.28730103322229</c:v>
                </c:pt>
                <c:pt idx="38">
                  <c:v>132.28850663578604</c:v>
                </c:pt>
                <c:pt idx="39">
                  <c:v>137.47447581520927</c:v>
                </c:pt>
                <c:pt idx="40">
                  <c:v>147.98469065345148</c:v>
                </c:pt>
                <c:pt idx="41">
                  <c:v>195.34979566523916</c:v>
                </c:pt>
                <c:pt idx="42">
                  <c:v>281.26638313254927</c:v>
                </c:pt>
                <c:pt idx="43">
                  <c:v>373.5220453770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G$2:$G$45</c:f>
              <c:numCache>
                <c:formatCode>General</c:formatCode>
                <c:ptCount val="44"/>
                <c:pt idx="0">
                  <c:v>631.87972369515933</c:v>
                </c:pt>
                <c:pt idx="1">
                  <c:v>526.7473920133090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601891359427</c:v>
                </c:pt>
                <c:pt idx="5">
                  <c:v>292.2116996700002</c:v>
                </c:pt>
                <c:pt idx="6">
                  <c:v>292.29786900365559</c:v>
                </c:pt>
                <c:pt idx="7">
                  <c:v>340.82269309614173</c:v>
                </c:pt>
                <c:pt idx="8">
                  <c:v>363.62309878136455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586272880475</c:v>
                </c:pt>
                <c:pt idx="16">
                  <c:v>596.4124259625904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6566505348098</c:v>
                </c:pt>
                <c:pt idx="27">
                  <c:v>627.43338607853991</c:v>
                </c:pt>
                <c:pt idx="28">
                  <c:v>661.13708478229466</c:v>
                </c:pt>
                <c:pt idx="29">
                  <c:v>398.52167891180773</c:v>
                </c:pt>
                <c:pt idx="30">
                  <c:v>243.75581104443839</c:v>
                </c:pt>
                <c:pt idx="31">
                  <c:v>196.17310499991814</c:v>
                </c:pt>
                <c:pt idx="32">
                  <c:v>189.75636195371155</c:v>
                </c:pt>
                <c:pt idx="33">
                  <c:v>199.61987834613473</c:v>
                </c:pt>
                <c:pt idx="34">
                  <c:v>203.88238805095594</c:v>
                </c:pt>
                <c:pt idx="35">
                  <c:v>197.48287887148044</c:v>
                </c:pt>
                <c:pt idx="36">
                  <c:v>176.58394314892044</c:v>
                </c:pt>
                <c:pt idx="37">
                  <c:v>147.26913583934819</c:v>
                </c:pt>
                <c:pt idx="38">
                  <c:v>133.02247267498623</c:v>
                </c:pt>
                <c:pt idx="39">
                  <c:v>158.99965446097204</c:v>
                </c:pt>
                <c:pt idx="40">
                  <c:v>227.88916440735463</c:v>
                </c:pt>
                <c:pt idx="41">
                  <c:v>335.35381272014467</c:v>
                </c:pt>
                <c:pt idx="42">
                  <c:v>484.42101532176918</c:v>
                </c:pt>
                <c:pt idx="43">
                  <c:v>680.80092672246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J$2:$J$45</c:f>
              <c:numCache>
                <c:formatCode>General</c:formatCode>
                <c:ptCount val="44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  <c:pt idx="42">
                  <c:v>234.55049349364819</c:v>
                </c:pt>
                <c:pt idx="43">
                  <c:v>357.38581276036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B$2:$B$45</c:f>
              <c:numCache>
                <c:formatCode>General</c:formatCode>
                <c:ptCount val="44"/>
                <c:pt idx="0">
                  <c:v>331.7693255547876</c:v>
                </c:pt>
                <c:pt idx="1">
                  <c:v>287.41507756825473</c:v>
                </c:pt>
                <c:pt idx="2">
                  <c:v>237.15142369496499</c:v>
                </c:pt>
                <c:pt idx="3">
                  <c:v>220.99605170797557</c:v>
                </c:pt>
                <c:pt idx="4">
                  <c:v>209.25588221812583</c:v>
                </c:pt>
                <c:pt idx="5">
                  <c:v>208.73909006833341</c:v>
                </c:pt>
                <c:pt idx="6">
                  <c:v>237.06154679934895</c:v>
                </c:pt>
                <c:pt idx="7">
                  <c:v>290.30237283992113</c:v>
                </c:pt>
                <c:pt idx="8">
                  <c:v>343.12751823826903</c:v>
                </c:pt>
                <c:pt idx="9">
                  <c:v>388.38053518096262</c:v>
                </c:pt>
                <c:pt idx="10">
                  <c:v>441.78988040081498</c:v>
                </c:pt>
                <c:pt idx="11">
                  <c:v>487.71697406062913</c:v>
                </c:pt>
                <c:pt idx="12">
                  <c:v>484.26794819136228</c:v>
                </c:pt>
                <c:pt idx="13">
                  <c:v>431.34169128544636</c:v>
                </c:pt>
                <c:pt idx="14">
                  <c:v>386.7739856718253</c:v>
                </c:pt>
                <c:pt idx="15">
                  <c:v>358.0021444627294</c:v>
                </c:pt>
                <c:pt idx="16">
                  <c:v>309.85059763641743</c:v>
                </c:pt>
                <c:pt idx="17">
                  <c:v>242.11712217775315</c:v>
                </c:pt>
                <c:pt idx="18">
                  <c:v>165.71052629213767</c:v>
                </c:pt>
                <c:pt idx="19">
                  <c:v>111.07660836951628</c:v>
                </c:pt>
                <c:pt idx="20">
                  <c:v>82.16995181699626</c:v>
                </c:pt>
                <c:pt idx="21">
                  <c:v>62.71160391611609</c:v>
                </c:pt>
                <c:pt idx="22">
                  <c:v>46.14055128690233</c:v>
                </c:pt>
                <c:pt idx="23">
                  <c:v>30.176167703097068</c:v>
                </c:pt>
                <c:pt idx="24">
                  <c:v>18.885382691327688</c:v>
                </c:pt>
                <c:pt idx="25">
                  <c:v>14.728576269084234</c:v>
                </c:pt>
                <c:pt idx="26">
                  <c:v>19.346001781360069</c:v>
                </c:pt>
                <c:pt idx="27">
                  <c:v>36.871996426494633</c:v>
                </c:pt>
                <c:pt idx="28">
                  <c:v>53.049837637388066</c:v>
                </c:pt>
                <c:pt idx="29">
                  <c:v>64.947291694565948</c:v>
                </c:pt>
                <c:pt idx="30">
                  <c:v>77.70981087204855</c:v>
                </c:pt>
                <c:pt idx="31">
                  <c:v>107.38042103730521</c:v>
                </c:pt>
                <c:pt idx="32">
                  <c:v>156.75654056638624</c:v>
                </c:pt>
                <c:pt idx="33">
                  <c:v>196.5720053243073</c:v>
                </c:pt>
                <c:pt idx="34">
                  <c:v>233.01708649662555</c:v>
                </c:pt>
                <c:pt idx="35">
                  <c:v>284.85358604319663</c:v>
                </c:pt>
                <c:pt idx="36">
                  <c:v>312.16492769853136</c:v>
                </c:pt>
                <c:pt idx="37">
                  <c:v>286.26914714914983</c:v>
                </c:pt>
                <c:pt idx="38">
                  <c:v>273.41675107605113</c:v>
                </c:pt>
                <c:pt idx="39">
                  <c:v>285.0221052224768</c:v>
                </c:pt>
                <c:pt idx="40">
                  <c:v>316.02963421002255</c:v>
                </c:pt>
                <c:pt idx="41">
                  <c:v>440.66641920561403</c:v>
                </c:pt>
                <c:pt idx="42">
                  <c:v>657.4045529837781</c:v>
                </c:pt>
                <c:pt idx="43">
                  <c:v>1026.8098285777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L$2:$L$45</c:f>
              <c:numCache>
                <c:formatCode>General</c:formatCode>
                <c:ptCount val="44"/>
                <c:pt idx="0">
                  <c:v>1578.4170866562854</c:v>
                </c:pt>
                <c:pt idx="1">
                  <c:v>1340.9802683206442</c:v>
                </c:pt>
                <c:pt idx="2">
                  <c:v>1244.4041845605423</c:v>
                </c:pt>
                <c:pt idx="3">
                  <c:v>1277.6588975228995</c:v>
                </c:pt>
                <c:pt idx="4">
                  <c:v>1245.8699570327121</c:v>
                </c:pt>
                <c:pt idx="5">
                  <c:v>1289.3117886766511</c:v>
                </c:pt>
                <c:pt idx="6">
                  <c:v>1289.9347419773235</c:v>
                </c:pt>
                <c:pt idx="7">
                  <c:v>1346.1654384409458</c:v>
                </c:pt>
                <c:pt idx="8">
                  <c:v>1291.4738030731019</c:v>
                </c:pt>
                <c:pt idx="9">
                  <c:v>1132.3458790631441</c:v>
                </c:pt>
                <c:pt idx="10">
                  <c:v>951.2680122824404</c:v>
                </c:pt>
                <c:pt idx="11">
                  <c:v>780.02914322117795</c:v>
                </c:pt>
                <c:pt idx="12">
                  <c:v>621.26766232926275</c:v>
                </c:pt>
                <c:pt idx="13">
                  <c:v>487.29605837292291</c:v>
                </c:pt>
                <c:pt idx="14">
                  <c:v>394.62259381997342</c:v>
                </c:pt>
                <c:pt idx="15">
                  <c:v>331.41115595764137</c:v>
                </c:pt>
                <c:pt idx="16">
                  <c:v>277.98374934704418</c:v>
                </c:pt>
                <c:pt idx="17">
                  <c:v>216.53123845131614</c:v>
                </c:pt>
                <c:pt idx="18">
                  <c:v>159.42107850439172</c:v>
                </c:pt>
                <c:pt idx="19">
                  <c:v>113.34085641054675</c:v>
                </c:pt>
                <c:pt idx="20">
                  <c:v>79.243324276691681</c:v>
                </c:pt>
                <c:pt idx="21">
                  <c:v>60.6829803478388</c:v>
                </c:pt>
                <c:pt idx="22">
                  <c:v>44.632771777577091</c:v>
                </c:pt>
                <c:pt idx="23">
                  <c:v>27.886321283034619</c:v>
                </c:pt>
                <c:pt idx="24">
                  <c:v>16.654839715031844</c:v>
                </c:pt>
                <c:pt idx="25">
                  <c:v>11.304770191611274</c:v>
                </c:pt>
                <c:pt idx="26">
                  <c:v>8.4648360267818621</c:v>
                </c:pt>
                <c:pt idx="27">
                  <c:v>8.2266480000542348</c:v>
                </c:pt>
                <c:pt idx="28">
                  <c:v>9.7657090958327544</c:v>
                </c:pt>
                <c:pt idx="29">
                  <c:v>13.485106743964177</c:v>
                </c:pt>
                <c:pt idx="30">
                  <c:v>15.390610957785205</c:v>
                </c:pt>
                <c:pt idx="31">
                  <c:v>18.120612187201864</c:v>
                </c:pt>
                <c:pt idx="32">
                  <c:v>22.7927619422438</c:v>
                </c:pt>
                <c:pt idx="33">
                  <c:v>27.391623073677238</c:v>
                </c:pt>
                <c:pt idx="34">
                  <c:v>46.336732276474734</c:v>
                </c:pt>
                <c:pt idx="35">
                  <c:v>87.598227368060776</c:v>
                </c:pt>
                <c:pt idx="36">
                  <c:v>146.48563643749131</c:v>
                </c:pt>
                <c:pt idx="37">
                  <c:v>210.42996053590841</c:v>
                </c:pt>
                <c:pt idx="38">
                  <c:v>280.21905236710347</c:v>
                </c:pt>
                <c:pt idx="39">
                  <c:v>360.56170599792262</c:v>
                </c:pt>
                <c:pt idx="40">
                  <c:v>446.93234892054102</c:v>
                </c:pt>
                <c:pt idx="41">
                  <c:v>658.16848431614301</c:v>
                </c:pt>
                <c:pt idx="42">
                  <c:v>1013.5816645055683</c:v>
                </c:pt>
                <c:pt idx="43">
                  <c:v>1382.2234412563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5</c:f>
              <c:numCache>
                <c:formatCode>General</c:formatCode>
                <c:ptCount val="44"/>
                <c:pt idx="0">
                  <c:v>627.77010371749168</c:v>
                </c:pt>
                <c:pt idx="1">
                  <c:v>900.88411343603377</c:v>
                </c:pt>
                <c:pt idx="2">
                  <c:v>1008.268843972995</c:v>
                </c:pt>
                <c:pt idx="3">
                  <c:v>881.09648877621669</c:v>
                </c:pt>
                <c:pt idx="4">
                  <c:v>613.96778128501421</c:v>
                </c:pt>
                <c:pt idx="5">
                  <c:v>375.80430271609339</c:v>
                </c:pt>
                <c:pt idx="6">
                  <c:v>237.66276673415922</c:v>
                </c:pt>
                <c:pt idx="7">
                  <c:v>97.659934860136815</c:v>
                </c:pt>
                <c:pt idx="8">
                  <c:v>70.355294554405987</c:v>
                </c:pt>
                <c:pt idx="9">
                  <c:v>139.47042941680763</c:v>
                </c:pt>
                <c:pt idx="10">
                  <c:v>144.78389044813795</c:v>
                </c:pt>
                <c:pt idx="11">
                  <c:v>168.34058647172964</c:v>
                </c:pt>
                <c:pt idx="12">
                  <c:v>195.22479785291384</c:v>
                </c:pt>
                <c:pt idx="13">
                  <c:v>226.9154203061762</c:v>
                </c:pt>
                <c:pt idx="14">
                  <c:v>247.91785216003495</c:v>
                </c:pt>
                <c:pt idx="15">
                  <c:v>242.96566422467183</c:v>
                </c:pt>
                <c:pt idx="16">
                  <c:v>224.31678926500871</c:v>
                </c:pt>
                <c:pt idx="17">
                  <c:v>189.60076872154156</c:v>
                </c:pt>
                <c:pt idx="18">
                  <c:v>155.98546913128442</c:v>
                </c:pt>
                <c:pt idx="19">
                  <c:v>139.06901486573298</c:v>
                </c:pt>
                <c:pt idx="20">
                  <c:v>131.69988879126771</c:v>
                </c:pt>
                <c:pt idx="21">
                  <c:v>122.64693431045242</c:v>
                </c:pt>
                <c:pt idx="22">
                  <c:v>108.12840381053115</c:v>
                </c:pt>
                <c:pt idx="23">
                  <c:v>101.18393207693958</c:v>
                </c:pt>
                <c:pt idx="24">
                  <c:v>127.51672662743707</c:v>
                </c:pt>
                <c:pt idx="25">
                  <c:v>265.93714008695991</c:v>
                </c:pt>
                <c:pt idx="26">
                  <c:v>497.01670818349476</c:v>
                </c:pt>
                <c:pt idx="27">
                  <c:v>697.18313043095395</c:v>
                </c:pt>
                <c:pt idx="28">
                  <c:v>780.33721104015081</c:v>
                </c:pt>
                <c:pt idx="29">
                  <c:v>704.17408174414368</c:v>
                </c:pt>
                <c:pt idx="30">
                  <c:v>549.61680333141965</c:v>
                </c:pt>
                <c:pt idx="31">
                  <c:v>409.9667937207102</c:v>
                </c:pt>
                <c:pt idx="32">
                  <c:v>309.6131559520461</c:v>
                </c:pt>
                <c:pt idx="33">
                  <c:v>230.62111042504435</c:v>
                </c:pt>
                <c:pt idx="34">
                  <c:v>158.32001165200805</c:v>
                </c:pt>
                <c:pt idx="35">
                  <c:v>106.90937120016231</c:v>
                </c:pt>
                <c:pt idx="36">
                  <c:v>79.737831508735184</c:v>
                </c:pt>
                <c:pt idx="37">
                  <c:v>65.120003725127034</c:v>
                </c:pt>
                <c:pt idx="38">
                  <c:v>53.599406109284395</c:v>
                </c:pt>
                <c:pt idx="39">
                  <c:v>46.830289153267557</c:v>
                </c:pt>
                <c:pt idx="40">
                  <c:v>47.358466194155262</c:v>
                </c:pt>
                <c:pt idx="41">
                  <c:v>50.612036766023522</c:v>
                </c:pt>
                <c:pt idx="42">
                  <c:v>53.236020305153644</c:v>
                </c:pt>
                <c:pt idx="43">
                  <c:v>48.995815020907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H$2:$H$45</c:f>
              <c:numCache>
                <c:formatCode>General</c:formatCode>
                <c:ptCount val="44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  <c:pt idx="42">
                  <c:v>936.13764694178133</c:v>
                </c:pt>
                <c:pt idx="43">
                  <c:v>776.13291698809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I$2:$I$45</c:f>
              <c:numCache>
                <c:formatCode>General</c:formatCode>
                <c:ptCount val="44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6061598064298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7753149506529</c:v>
                </c:pt>
                <c:pt idx="16">
                  <c:v>182.44399623690816</c:v>
                </c:pt>
                <c:pt idx="17">
                  <c:v>184.27520559881415</c:v>
                </c:pt>
                <c:pt idx="18">
                  <c:v>129.43439063253965</c:v>
                </c:pt>
                <c:pt idx="19">
                  <c:v>150.14181024158077</c:v>
                </c:pt>
                <c:pt idx="20">
                  <c:v>106.1580706864171</c:v>
                </c:pt>
                <c:pt idx="21">
                  <c:v>79.141223560287571</c:v>
                </c:pt>
                <c:pt idx="22">
                  <c:v>45.840985069134661</c:v>
                </c:pt>
                <c:pt idx="23">
                  <c:v>26.27915615095414</c:v>
                </c:pt>
                <c:pt idx="24">
                  <c:v>21.314929823891468</c:v>
                </c:pt>
                <c:pt idx="25">
                  <c:v>35.495953981969095</c:v>
                </c:pt>
                <c:pt idx="26">
                  <c:v>65.185846053440073</c:v>
                </c:pt>
                <c:pt idx="27">
                  <c:v>82.803642284099553</c:v>
                </c:pt>
                <c:pt idx="28">
                  <c:v>90.171873318498513</c:v>
                </c:pt>
                <c:pt idx="29">
                  <c:v>97.921967916517687</c:v>
                </c:pt>
                <c:pt idx="30">
                  <c:v>106.17542812112713</c:v>
                </c:pt>
                <c:pt idx="31">
                  <c:v>115.84351925460231</c:v>
                </c:pt>
                <c:pt idx="32">
                  <c:v>119.97458871558455</c:v>
                </c:pt>
                <c:pt idx="33">
                  <c:v>122.46538059647088</c:v>
                </c:pt>
                <c:pt idx="34">
                  <c:v>119.35839978337921</c:v>
                </c:pt>
                <c:pt idx="35">
                  <c:v>119.29764876189418</c:v>
                </c:pt>
                <c:pt idx="36">
                  <c:v>125.54632525749756</c:v>
                </c:pt>
                <c:pt idx="37">
                  <c:v>118.25620267929362</c:v>
                </c:pt>
                <c:pt idx="38">
                  <c:v>115.4182621042071</c:v>
                </c:pt>
                <c:pt idx="39">
                  <c:v>129.3476034589896</c:v>
                </c:pt>
                <c:pt idx="40">
                  <c:v>198.00493645443152</c:v>
                </c:pt>
                <c:pt idx="41">
                  <c:v>346.46307552914141</c:v>
                </c:pt>
                <c:pt idx="42">
                  <c:v>471.92261361308886</c:v>
                </c:pt>
                <c:pt idx="43">
                  <c:v>471.44528415856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C$2:$C$45</c:f>
              <c:numCache>
                <c:formatCode>General</c:formatCode>
                <c:ptCount val="44"/>
                <c:pt idx="0">
                  <c:v>831.35877247850397</c:v>
                </c:pt>
                <c:pt idx="1">
                  <c:v>527.76624216764276</c:v>
                </c:pt>
                <c:pt idx="2">
                  <c:v>450.5075258050378</c:v>
                </c:pt>
                <c:pt idx="3">
                  <c:v>443.15756803924171</c:v>
                </c:pt>
                <c:pt idx="4">
                  <c:v>468.33070583252817</c:v>
                </c:pt>
                <c:pt idx="5">
                  <c:v>500.4049490089667</c:v>
                </c:pt>
                <c:pt idx="6">
                  <c:v>620.14567317056878</c:v>
                </c:pt>
                <c:pt idx="7">
                  <c:v>775.6356193915077</c:v>
                </c:pt>
                <c:pt idx="8">
                  <c:v>798.13434507154011</c:v>
                </c:pt>
                <c:pt idx="9">
                  <c:v>721.70787583508752</c:v>
                </c:pt>
                <c:pt idx="10">
                  <c:v>607.66196627828162</c:v>
                </c:pt>
                <c:pt idx="11">
                  <c:v>462.44886940163025</c:v>
                </c:pt>
                <c:pt idx="12">
                  <c:v>346.27091102726507</c:v>
                </c:pt>
                <c:pt idx="13">
                  <c:v>256.07028429842359</c:v>
                </c:pt>
                <c:pt idx="14">
                  <c:v>201.26353815932558</c:v>
                </c:pt>
                <c:pt idx="15">
                  <c:v>163.47577819548064</c:v>
                </c:pt>
                <c:pt idx="16">
                  <c:v>134.65571479321139</c:v>
                </c:pt>
                <c:pt idx="17">
                  <c:v>101.3564786558068</c:v>
                </c:pt>
                <c:pt idx="18">
                  <c:v>71.358177749096939</c:v>
                </c:pt>
                <c:pt idx="19">
                  <c:v>46.69934997759011</c:v>
                </c:pt>
                <c:pt idx="20">
                  <c:v>29.858034537133602</c:v>
                </c:pt>
                <c:pt idx="21">
                  <c:v>21.937660201727351</c:v>
                </c:pt>
                <c:pt idx="22">
                  <c:v>13.231794196694034</c:v>
                </c:pt>
                <c:pt idx="23">
                  <c:v>8.7339192789485711</c:v>
                </c:pt>
                <c:pt idx="24">
                  <c:v>6.470955183118213</c:v>
                </c:pt>
                <c:pt idx="25">
                  <c:v>9.444602218134964</c:v>
                </c:pt>
                <c:pt idx="26">
                  <c:v>12.698781992304239</c:v>
                </c:pt>
                <c:pt idx="27">
                  <c:v>15.045905909880355</c:v>
                </c:pt>
                <c:pt idx="28">
                  <c:v>12.539813440117808</c:v>
                </c:pt>
                <c:pt idx="29">
                  <c:v>11.015585557389096</c:v>
                </c:pt>
                <c:pt idx="30">
                  <c:v>11.183905200880611</c:v>
                </c:pt>
                <c:pt idx="31">
                  <c:v>11.931992505287342</c:v>
                </c:pt>
                <c:pt idx="32">
                  <c:v>12.147067605304276</c:v>
                </c:pt>
                <c:pt idx="33">
                  <c:v>12.277982883575453</c:v>
                </c:pt>
                <c:pt idx="34">
                  <c:v>16.364409783897216</c:v>
                </c:pt>
                <c:pt idx="35">
                  <c:v>24.340890667133973</c:v>
                </c:pt>
                <c:pt idx="36">
                  <c:v>28.530179571811658</c:v>
                </c:pt>
                <c:pt idx="37">
                  <c:v>30.344291284997983</c:v>
                </c:pt>
                <c:pt idx="38">
                  <c:v>42.005102142437885</c:v>
                </c:pt>
                <c:pt idx="39">
                  <c:v>55.741855269606454</c:v>
                </c:pt>
                <c:pt idx="40">
                  <c:v>89.994902720129588</c:v>
                </c:pt>
                <c:pt idx="41">
                  <c:v>201.24483597671539</c:v>
                </c:pt>
                <c:pt idx="42">
                  <c:v>321.05101777745318</c:v>
                </c:pt>
                <c:pt idx="43">
                  <c:v>499.17995604800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D$2:$D$45</c:f>
              <c:numCache>
                <c:formatCode>General</c:formatCode>
                <c:ptCount val="44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55475864783322</c:v>
                </c:pt>
                <c:pt idx="40">
                  <c:v>48.607984264340445</c:v>
                </c:pt>
                <c:pt idx="41">
                  <c:v>53.383667099345011</c:v>
                </c:pt>
                <c:pt idx="42">
                  <c:v>58.847107680106078</c:v>
                </c:pt>
                <c:pt idx="43">
                  <c:v>72.333398336095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F$2:$F$45</c:f>
              <c:numCache>
                <c:formatCode>General</c:formatCode>
                <c:ptCount val="44"/>
                <c:pt idx="0">
                  <c:v>204.66625514105212</c:v>
                </c:pt>
                <c:pt idx="1">
                  <c:v>157.64361881782696</c:v>
                </c:pt>
                <c:pt idx="2">
                  <c:v>142.5500986829839</c:v>
                </c:pt>
                <c:pt idx="3">
                  <c:v>138.53946769403206</c:v>
                </c:pt>
                <c:pt idx="4">
                  <c:v>139.69638047930661</c:v>
                </c:pt>
                <c:pt idx="5">
                  <c:v>139.65446334940538</c:v>
                </c:pt>
                <c:pt idx="6">
                  <c:v>150.54956375333896</c:v>
                </c:pt>
                <c:pt idx="7">
                  <c:v>203.70048446812731</c:v>
                </c:pt>
                <c:pt idx="8">
                  <c:v>239.10033901233317</c:v>
                </c:pt>
                <c:pt idx="9">
                  <c:v>261.58133412097294</c:v>
                </c:pt>
                <c:pt idx="10">
                  <c:v>250.39449049292665</c:v>
                </c:pt>
                <c:pt idx="11">
                  <c:v>242.19717656943772</c:v>
                </c:pt>
                <c:pt idx="12">
                  <c:v>220.38350216882583</c:v>
                </c:pt>
                <c:pt idx="13">
                  <c:v>168.90088322410733</c:v>
                </c:pt>
                <c:pt idx="14">
                  <c:v>163.98987228487658</c:v>
                </c:pt>
                <c:pt idx="15">
                  <c:v>153.0310578434931</c:v>
                </c:pt>
                <c:pt idx="16">
                  <c:v>130.6875509209294</c:v>
                </c:pt>
                <c:pt idx="17">
                  <c:v>106.8216138403522</c:v>
                </c:pt>
                <c:pt idx="18">
                  <c:v>74.382785352370817</c:v>
                </c:pt>
                <c:pt idx="19">
                  <c:v>50.998056923059998</c:v>
                </c:pt>
                <c:pt idx="20">
                  <c:v>37.566131817502608</c:v>
                </c:pt>
                <c:pt idx="21">
                  <c:v>27.26960802855891</c:v>
                </c:pt>
                <c:pt idx="22">
                  <c:v>19.389187607123418</c:v>
                </c:pt>
                <c:pt idx="23">
                  <c:v>12.414177191554979</c:v>
                </c:pt>
                <c:pt idx="24">
                  <c:v>8.8294242423998544</c:v>
                </c:pt>
                <c:pt idx="25">
                  <c:v>9.4380609685660417</c:v>
                </c:pt>
                <c:pt idx="26">
                  <c:v>14.746446299260676</c:v>
                </c:pt>
                <c:pt idx="27">
                  <c:v>31.593779149172136</c:v>
                </c:pt>
                <c:pt idx="28">
                  <c:v>52.38132220980134</c:v>
                </c:pt>
                <c:pt idx="29">
                  <c:v>64.309260694501788</c:v>
                </c:pt>
                <c:pt idx="30">
                  <c:v>71.267504258109724</c:v>
                </c:pt>
                <c:pt idx="31">
                  <c:v>72.288605542504229</c:v>
                </c:pt>
                <c:pt idx="32">
                  <c:v>75.923659047540866</c:v>
                </c:pt>
                <c:pt idx="33">
                  <c:v>77.161052722225847</c:v>
                </c:pt>
                <c:pt idx="34">
                  <c:v>66.991957008181956</c:v>
                </c:pt>
                <c:pt idx="35">
                  <c:v>55.320551358477168</c:v>
                </c:pt>
                <c:pt idx="36">
                  <c:v>48.404224924770489</c:v>
                </c:pt>
                <c:pt idx="37">
                  <c:v>39.594920904723239</c:v>
                </c:pt>
                <c:pt idx="38">
                  <c:v>34.972299819213099</c:v>
                </c:pt>
                <c:pt idx="39">
                  <c:v>29.997574842532433</c:v>
                </c:pt>
                <c:pt idx="40">
                  <c:v>29.896973730769428</c:v>
                </c:pt>
                <c:pt idx="41">
                  <c:v>42.396661867322962</c:v>
                </c:pt>
                <c:pt idx="42">
                  <c:v>53.006725787928026</c:v>
                </c:pt>
                <c:pt idx="43">
                  <c:v>41.469454953907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K$2:$K$45</c:f>
              <c:numCache>
                <c:formatCode>General</c:formatCode>
                <c:ptCount val="44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6177300720628</c:v>
                </c:pt>
                <c:pt idx="42">
                  <c:v>246.85946892408086</c:v>
                </c:pt>
                <c:pt idx="43">
                  <c:v>362.02370514188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E$2:$E$45</c:f>
              <c:numCache>
                <c:formatCode>General</c:formatCode>
                <c:ptCount val="44"/>
                <c:pt idx="0">
                  <c:v>174.87645988549434</c:v>
                </c:pt>
                <c:pt idx="1">
                  <c:v>142.94541478260453</c:v>
                </c:pt>
                <c:pt idx="2">
                  <c:v>114.85003897773473</c:v>
                </c:pt>
                <c:pt idx="3">
                  <c:v>93.936623272260931</c:v>
                </c:pt>
                <c:pt idx="4">
                  <c:v>77.618796299399165</c:v>
                </c:pt>
                <c:pt idx="5">
                  <c:v>61.086941384516216</c:v>
                </c:pt>
                <c:pt idx="6">
                  <c:v>62.992751991839619</c:v>
                </c:pt>
                <c:pt idx="7">
                  <c:v>67.753070095557831</c:v>
                </c:pt>
                <c:pt idx="8">
                  <c:v>70.186736132922221</c:v>
                </c:pt>
                <c:pt idx="9">
                  <c:v>85.7434412670233</c:v>
                </c:pt>
                <c:pt idx="10">
                  <c:v>111.31978033855397</c:v>
                </c:pt>
                <c:pt idx="11">
                  <c:v>139.80233028573176</c:v>
                </c:pt>
                <c:pt idx="12">
                  <c:v>132.38229416094137</c:v>
                </c:pt>
                <c:pt idx="13">
                  <c:v>142.20232900637373</c:v>
                </c:pt>
                <c:pt idx="14">
                  <c:v>170.81714341210392</c:v>
                </c:pt>
                <c:pt idx="15">
                  <c:v>174.05401543413205</c:v>
                </c:pt>
                <c:pt idx="16">
                  <c:v>150.05523063188107</c:v>
                </c:pt>
                <c:pt idx="17">
                  <c:v>121.422380163621</c:v>
                </c:pt>
                <c:pt idx="18">
                  <c:v>85.150656011874759</c:v>
                </c:pt>
                <c:pt idx="19">
                  <c:v>63.361890071617715</c:v>
                </c:pt>
                <c:pt idx="20">
                  <c:v>35.917014921992049</c:v>
                </c:pt>
                <c:pt idx="21">
                  <c:v>24.858503782841673</c:v>
                </c:pt>
                <c:pt idx="22">
                  <c:v>16.86973048627593</c:v>
                </c:pt>
                <c:pt idx="23">
                  <c:v>8.7378710936398587</c:v>
                </c:pt>
                <c:pt idx="24">
                  <c:v>5.7919808804270252</c:v>
                </c:pt>
                <c:pt idx="25">
                  <c:v>4.203604973629413</c:v>
                </c:pt>
                <c:pt idx="26">
                  <c:v>6.6973912194267253</c:v>
                </c:pt>
                <c:pt idx="27">
                  <c:v>10.93466350977857</c:v>
                </c:pt>
                <c:pt idx="28">
                  <c:v>15.181555033479682</c:v>
                </c:pt>
                <c:pt idx="29">
                  <c:v>18.630050189191685</c:v>
                </c:pt>
                <c:pt idx="30">
                  <c:v>24.530247444797958</c:v>
                </c:pt>
                <c:pt idx="31">
                  <c:v>38.539458413835796</c:v>
                </c:pt>
                <c:pt idx="32">
                  <c:v>59.647663594632228</c:v>
                </c:pt>
                <c:pt idx="33">
                  <c:v>79.742242061249726</c:v>
                </c:pt>
                <c:pt idx="34">
                  <c:v>89.779912061209203</c:v>
                </c:pt>
                <c:pt idx="35">
                  <c:v>86.147449067692492</c:v>
                </c:pt>
                <c:pt idx="36">
                  <c:v>73.860080868173327</c:v>
                </c:pt>
                <c:pt idx="37">
                  <c:v>64.427220165048965</c:v>
                </c:pt>
                <c:pt idx="38">
                  <c:v>67.86128647073707</c:v>
                </c:pt>
                <c:pt idx="39">
                  <c:v>69.613189344472218</c:v>
                </c:pt>
                <c:pt idx="40">
                  <c:v>78.371501308979262</c:v>
                </c:pt>
                <c:pt idx="41">
                  <c:v>116.97829435625992</c:v>
                </c:pt>
                <c:pt idx="42">
                  <c:v>164.28808877628936</c:v>
                </c:pt>
                <c:pt idx="43">
                  <c:v>209.2339566007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G$2:$G$45</c:f>
              <c:numCache>
                <c:formatCode>General</c:formatCode>
                <c:ptCount val="44"/>
                <c:pt idx="0">
                  <c:v>297.6403676902913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832920534353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532317090509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425964313832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7217595088579</c:v>
                </c:pt>
                <c:pt idx="27">
                  <c:v>402.76121012765407</c:v>
                </c:pt>
                <c:pt idx="28">
                  <c:v>258.37587465464048</c:v>
                </c:pt>
                <c:pt idx="29">
                  <c:v>140.14580425716721</c:v>
                </c:pt>
                <c:pt idx="30">
                  <c:v>103.61000678727119</c:v>
                </c:pt>
                <c:pt idx="31">
                  <c:v>92.563098212646949</c:v>
                </c:pt>
                <c:pt idx="32">
                  <c:v>97.193263741064598</c:v>
                </c:pt>
                <c:pt idx="33">
                  <c:v>102.42661460507016</c:v>
                </c:pt>
                <c:pt idx="34">
                  <c:v>101.4557734458858</c:v>
                </c:pt>
                <c:pt idx="35">
                  <c:v>96.027105425594641</c:v>
                </c:pt>
                <c:pt idx="36">
                  <c:v>80.556837723325771</c:v>
                </c:pt>
                <c:pt idx="37">
                  <c:v>66.71229811602241</c:v>
                </c:pt>
                <c:pt idx="38">
                  <c:v>66.310174558963809</c:v>
                </c:pt>
                <c:pt idx="39">
                  <c:v>92.68947990200823</c:v>
                </c:pt>
                <c:pt idx="40">
                  <c:v>135.19968450534637</c:v>
                </c:pt>
                <c:pt idx="41">
                  <c:v>200.15412821479833</c:v>
                </c:pt>
                <c:pt idx="42">
                  <c:v>284.2668871069709</c:v>
                </c:pt>
                <c:pt idx="43">
                  <c:v>396.53403961548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J$2:$J$45</c:f>
              <c:numCache>
                <c:formatCode>General</c:formatCode>
                <c:ptCount val="44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  <c:pt idx="42">
                  <c:v>142.98646577448031</c:v>
                </c:pt>
                <c:pt idx="43">
                  <c:v>214.39934698588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B$2:$B$45</c:f>
              <c:numCache>
                <c:formatCode>General</c:formatCode>
                <c:ptCount val="44"/>
                <c:pt idx="0">
                  <c:v>164.41854591765659</c:v>
                </c:pt>
                <c:pt idx="1">
                  <c:v>122.99653165059817</c:v>
                </c:pt>
                <c:pt idx="2">
                  <c:v>114.15489204436683</c:v>
                </c:pt>
                <c:pt idx="3">
                  <c:v>106.84115966360875</c:v>
                </c:pt>
                <c:pt idx="4">
                  <c:v>102.41472255451708</c:v>
                </c:pt>
                <c:pt idx="5">
                  <c:v>106.32436751381633</c:v>
                </c:pt>
                <c:pt idx="6">
                  <c:v>130.73717928553259</c:v>
                </c:pt>
                <c:pt idx="7">
                  <c:v>159.56519355438857</c:v>
                </c:pt>
                <c:pt idx="8">
                  <c:v>183.56232468388049</c:v>
                </c:pt>
                <c:pt idx="9">
                  <c:v>204.81821049708216</c:v>
                </c:pt>
                <c:pt idx="10">
                  <c:v>236.97166990373285</c:v>
                </c:pt>
                <c:pt idx="11">
                  <c:v>250.74530415689628</c:v>
                </c:pt>
                <c:pt idx="12">
                  <c:v>233.52264403446597</c:v>
                </c:pt>
                <c:pt idx="13">
                  <c:v>197.81904725098033</c:v>
                </c:pt>
                <c:pt idx="14">
                  <c:v>188.95493842084497</c:v>
                </c:pt>
                <c:pt idx="15">
                  <c:v>169.04720604188444</c:v>
                </c:pt>
                <c:pt idx="16">
                  <c:v>140.80339159453297</c:v>
                </c:pt>
                <c:pt idx="17">
                  <c:v>101.31373058322016</c:v>
                </c:pt>
                <c:pt idx="18">
                  <c:v>64.396795708917494</c:v>
                </c:pt>
                <c:pt idx="19">
                  <c:v>46.679812660598778</c:v>
                </c:pt>
                <c:pt idx="20">
                  <c:v>35.490139156397483</c:v>
                </c:pt>
                <c:pt idx="21">
                  <c:v>27.221464759718611</c:v>
                </c:pt>
                <c:pt idx="22">
                  <c:v>18.919086527183715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002747536698987</c:v>
                </c:pt>
                <c:pt idx="26">
                  <c:v>12.245727027690174</c:v>
                </c:pt>
                <c:pt idx="27">
                  <c:v>24.626269398804457</c:v>
                </c:pt>
                <c:pt idx="28">
                  <c:v>28.423568238583613</c:v>
                </c:pt>
                <c:pt idx="29">
                  <c:v>36.523723455982342</c:v>
                </c:pt>
                <c:pt idx="30">
                  <c:v>41.186087416066215</c:v>
                </c:pt>
                <c:pt idx="31">
                  <c:v>66.194333621238982</c:v>
                </c:pt>
                <c:pt idx="32">
                  <c:v>90.562206945147224</c:v>
                </c:pt>
                <c:pt idx="33">
                  <c:v>106.00979837916006</c:v>
                </c:pt>
                <c:pt idx="34">
                  <c:v>127.00728811746551</c:v>
                </c:pt>
                <c:pt idx="35">
                  <c:v>157.84629792573111</c:v>
                </c:pt>
                <c:pt idx="36">
                  <c:v>154.31862977280019</c:v>
                </c:pt>
                <c:pt idx="37">
                  <c:v>131.95051737634961</c:v>
                </c:pt>
                <c:pt idx="38">
                  <c:v>141.46623369970152</c:v>
                </c:pt>
                <c:pt idx="39">
                  <c:v>143.55587152277528</c:v>
                </c:pt>
                <c:pt idx="40">
                  <c:v>172.47376268724727</c:v>
                </c:pt>
                <c:pt idx="41">
                  <c:v>268.19265651836679</c:v>
                </c:pt>
                <c:pt idx="42">
                  <c:v>389.21189646541131</c:v>
                </c:pt>
                <c:pt idx="43">
                  <c:v>637.597932112385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L$2:$L$45</c:f>
              <c:numCache>
                <c:formatCode>General</c:formatCode>
                <c:ptCount val="44"/>
                <c:pt idx="0">
                  <c:v>793.99062601859737</c:v>
                </c:pt>
                <c:pt idx="1">
                  <c:v>546.98964230204695</c:v>
                </c:pt>
                <c:pt idx="2">
                  <c:v>697.4145422584952</c:v>
                </c:pt>
                <c:pt idx="3">
                  <c:v>580.24435526440425</c:v>
                </c:pt>
                <c:pt idx="4">
                  <c:v>665.62560176830789</c:v>
                </c:pt>
                <c:pt idx="5">
                  <c:v>623.6861869083433</c:v>
                </c:pt>
                <c:pt idx="6">
                  <c:v>666.24855506898018</c:v>
                </c:pt>
                <c:pt idx="7">
                  <c:v>679.91688337196558</c:v>
                </c:pt>
                <c:pt idx="8">
                  <c:v>611.55691970113628</c:v>
                </c:pt>
                <c:pt idx="9">
                  <c:v>520.78895936200786</c:v>
                </c:pt>
                <c:pt idx="10">
                  <c:v>430.47905292043254</c:v>
                </c:pt>
                <c:pt idx="11">
                  <c:v>349.55009030074535</c:v>
                </c:pt>
                <c:pt idx="12">
                  <c:v>271.71757202851734</c:v>
                </c:pt>
                <c:pt idx="13">
                  <c:v>215.57848634440558</c:v>
                </c:pt>
                <c:pt idx="14">
                  <c:v>179.04410747556787</c:v>
                </c:pt>
                <c:pt idx="15">
                  <c:v>152.36704848207353</c:v>
                </c:pt>
                <c:pt idx="16">
                  <c:v>125.61670086497065</c:v>
                </c:pt>
                <c:pt idx="17">
                  <c:v>90.914537586345446</c:v>
                </c:pt>
                <c:pt idx="18">
                  <c:v>68.506540918046284</c:v>
                </c:pt>
                <c:pt idx="19">
                  <c:v>44.834315492500465</c:v>
                </c:pt>
                <c:pt idx="20">
                  <c:v>34.409008784191201</c:v>
                </c:pt>
                <c:pt idx="21">
                  <c:v>26.273971563647599</c:v>
                </c:pt>
                <c:pt idx="22">
                  <c:v>18.358800213929491</c:v>
                </c:pt>
                <c:pt idx="23">
                  <c:v>9.5275210691051253</c:v>
                </c:pt>
                <c:pt idx="24">
                  <c:v>7.1273186459267199</c:v>
                </c:pt>
                <c:pt idx="25">
                  <c:v>4.1774515456845549</c:v>
                </c:pt>
                <c:pt idx="26">
                  <c:v>4.2873844810973063</c:v>
                </c:pt>
                <c:pt idx="27">
                  <c:v>3.9392635189569267</c:v>
                </c:pt>
                <c:pt idx="28">
                  <c:v>5.8264455768758268</c:v>
                </c:pt>
                <c:pt idx="29">
                  <c:v>7.6586611670883515</c:v>
                </c:pt>
                <c:pt idx="30">
                  <c:v>7.7319497906968531</c:v>
                </c:pt>
                <c:pt idx="31">
                  <c:v>10.388662396505012</c:v>
                </c:pt>
                <c:pt idx="32">
                  <c:v>12.40409954573879</c:v>
                </c:pt>
                <c:pt idx="33">
                  <c:v>14.987523527938448</c:v>
                </c:pt>
                <c:pt idx="34">
                  <c:v>31.349208748536288</c:v>
                </c:pt>
                <c:pt idx="35">
                  <c:v>56.249018619524492</c:v>
                </c:pt>
                <c:pt idx="36">
                  <c:v>90.236617817966817</c:v>
                </c:pt>
                <c:pt idx="37">
                  <c:v>120.19334271794159</c:v>
                </c:pt>
                <c:pt idx="38">
                  <c:v>160.02570964916185</c:v>
                </c:pt>
                <c:pt idx="39">
                  <c:v>200.53599634876079</c:v>
                </c:pt>
                <c:pt idx="40">
                  <c:v>246.39635257178026</c:v>
                </c:pt>
                <c:pt idx="41">
                  <c:v>411.77213174436264</c:v>
                </c:pt>
                <c:pt idx="42">
                  <c:v>601.80953276120567</c:v>
                </c:pt>
                <c:pt idx="43">
                  <c:v>780.41390849512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5</c:f>
              <c:numCache>
                <c:formatCode>General</c:formatCode>
                <c:ptCount val="44"/>
                <c:pt idx="0">
                  <c:v>395.54544779631226</c:v>
                </c:pt>
                <c:pt idx="1">
                  <c:v>505.33866563972151</c:v>
                </c:pt>
                <c:pt idx="2">
                  <c:v>502.93017833327355</c:v>
                </c:pt>
                <c:pt idx="3">
                  <c:v>378.1663104429432</c:v>
                </c:pt>
                <c:pt idx="4">
                  <c:v>235.80147084207096</c:v>
                </c:pt>
                <c:pt idx="5">
                  <c:v>140.00283187402243</c:v>
                </c:pt>
                <c:pt idx="6">
                  <c:v>97.659934860136815</c:v>
                </c:pt>
                <c:pt idx="7">
                  <c:v>77.616672512530144</c:v>
                </c:pt>
                <c:pt idx="8">
                  <c:v>70.355294554405987</c:v>
                </c:pt>
                <c:pt idx="9">
                  <c:v>69.115134862401646</c:v>
                </c:pt>
                <c:pt idx="10">
                  <c:v>75.668755585736292</c:v>
                </c:pt>
                <c:pt idx="11">
                  <c:v>92.67183088599333</c:v>
                </c:pt>
                <c:pt idx="12">
                  <c:v>102.55296696692054</c:v>
                </c:pt>
                <c:pt idx="13">
                  <c:v>124.36245333925567</c:v>
                </c:pt>
                <c:pt idx="14">
                  <c:v>123.55539882077926</c:v>
                </c:pt>
                <c:pt idx="15">
                  <c:v>119.41026540389255</c:v>
                </c:pt>
                <c:pt idx="16">
                  <c:v>104.90652386111616</c:v>
                </c:pt>
                <c:pt idx="17">
                  <c:v>84.694244860425414</c:v>
                </c:pt>
                <c:pt idx="18">
                  <c:v>71.29122427085899</c:v>
                </c:pt>
                <c:pt idx="19">
                  <c:v>67.777790594873977</c:v>
                </c:pt>
                <c:pt idx="20">
                  <c:v>63.922098196393719</c:v>
                </c:pt>
                <c:pt idx="21">
                  <c:v>58.724836114058689</c:v>
                </c:pt>
                <c:pt idx="22">
                  <c:v>49.403567696472457</c:v>
                </c:pt>
                <c:pt idx="23">
                  <c:v>51.780364380467134</c:v>
                </c:pt>
                <c:pt idx="24">
                  <c:v>75.736362246969918</c:v>
                </c:pt>
                <c:pt idx="25">
                  <c:v>190.20077783999</c:v>
                </c:pt>
                <c:pt idx="26">
                  <c:v>306.81593034350482</c:v>
                </c:pt>
                <c:pt idx="27">
                  <c:v>390.36720008744925</c:v>
                </c:pt>
                <c:pt idx="28">
                  <c:v>389.97001095270167</c:v>
                </c:pt>
                <c:pt idx="29">
                  <c:v>314.20407079144201</c:v>
                </c:pt>
                <c:pt idx="30">
                  <c:v>235.41273253997764</c:v>
                </c:pt>
                <c:pt idx="31">
                  <c:v>174.55406118073259</c:v>
                </c:pt>
                <c:pt idx="32">
                  <c:v>135.05909477131351</c:v>
                </c:pt>
                <c:pt idx="33">
                  <c:v>95.562015653730853</c:v>
                </c:pt>
                <c:pt idx="34">
                  <c:v>62.757995998277217</c:v>
                </c:pt>
                <c:pt idx="35">
                  <c:v>44.151375201885109</c:v>
                </c:pt>
                <c:pt idx="36">
                  <c:v>35.586456306850074</c:v>
                </c:pt>
                <c:pt idx="37">
                  <c:v>29.533547418276964</c:v>
                </c:pt>
                <c:pt idx="38">
                  <c:v>24.065858691007431</c:v>
                </c:pt>
                <c:pt idx="39">
                  <c:v>22.764430462260123</c:v>
                </c:pt>
                <c:pt idx="40">
                  <c:v>24.59403573189514</c:v>
                </c:pt>
                <c:pt idx="41">
                  <c:v>26.018001034128392</c:v>
                </c:pt>
                <c:pt idx="42">
                  <c:v>27.218019271025259</c:v>
                </c:pt>
                <c:pt idx="43">
                  <c:v>21.777795749881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H$2:$H$45</c:f>
              <c:numCache>
                <c:formatCode>General</c:formatCode>
                <c:ptCount val="44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  <c:pt idx="42">
                  <c:v>459.33827401327562</c:v>
                </c:pt>
                <c:pt idx="43">
                  <c:v>316.79464297481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2. vs. 41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Malta</c:v>
                </c:pt>
                <c:pt idx="1">
                  <c:v>Lichtenštejnsko</c:v>
                </c:pt>
                <c:pt idx="2">
                  <c:v>Rakousko</c:v>
                </c:pt>
                <c:pt idx="3">
                  <c:v>Řecko</c:v>
                </c:pt>
                <c:pt idx="4">
                  <c:v>Česká republika</c:v>
                </c:pt>
                <c:pt idx="5">
                  <c:v>Irsko</c:v>
                </c:pt>
                <c:pt idx="6">
                  <c:v>Polsko</c:v>
                </c:pt>
                <c:pt idx="7">
                  <c:v>Maďarsko</c:v>
                </c:pt>
                <c:pt idx="8">
                  <c:v>Nizozemsko</c:v>
                </c:pt>
                <c:pt idx="9">
                  <c:v>Norsko</c:v>
                </c:pt>
                <c:pt idx="10">
                  <c:v>Island</c:v>
                </c:pt>
                <c:pt idx="11">
                  <c:v>Dánsko</c:v>
                </c:pt>
                <c:pt idx="12">
                  <c:v>Slovensko</c:v>
                </c:pt>
                <c:pt idx="13">
                  <c:v>Kypr</c:v>
                </c:pt>
                <c:pt idx="14">
                  <c:v>Německo</c:v>
                </c:pt>
                <c:pt idx="15">
                  <c:v>Finsko</c:v>
                </c:pt>
                <c:pt idx="16">
                  <c:v>Francie</c:v>
                </c:pt>
                <c:pt idx="17">
                  <c:v>Slovinsko</c:v>
                </c:pt>
                <c:pt idx="18">
                  <c:v>Portugalsko</c:v>
                </c:pt>
                <c:pt idx="19">
                  <c:v>Chorvatsko</c:v>
                </c:pt>
                <c:pt idx="20">
                  <c:v>Lucembursko</c:v>
                </c:pt>
                <c:pt idx="21">
                  <c:v>Belgie</c:v>
                </c:pt>
                <c:pt idx="22">
                  <c:v>Bulharsko</c:v>
                </c:pt>
                <c:pt idx="23">
                  <c:v>Estonsko</c:v>
                </c:pt>
                <c:pt idx="24">
                  <c:v>Litva</c:v>
                </c:pt>
                <c:pt idx="25">
                  <c:v>Švédsko</c:v>
                </c:pt>
                <c:pt idx="26">
                  <c:v>Španělsko</c:v>
                </c:pt>
                <c:pt idx="27">
                  <c:v>Itálie</c:v>
                </c:pt>
                <c:pt idx="28">
                  <c:v>Lotyšsko</c:v>
                </c:pt>
                <c:pt idx="29">
                  <c:v>Velká Británie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0.91666666666666663</c:v>
                </c:pt>
                <c:pt idx="1">
                  <c:v>1.25</c:v>
                </c:pt>
                <c:pt idx="2">
                  <c:v>1.5549765502866075</c:v>
                </c:pt>
                <c:pt idx="3">
                  <c:v>1.2943812478455705</c:v>
                </c:pt>
                <c:pt idx="4">
                  <c:v>2.2361803823773898</c:v>
                </c:pt>
                <c:pt idx="5">
                  <c:v>1.2305359777085723</c:v>
                </c:pt>
                <c:pt idx="6">
                  <c:v>1.9503928170594838</c:v>
                </c:pt>
                <c:pt idx="7">
                  <c:v>2.0373629544143106</c:v>
                </c:pt>
                <c:pt idx="8">
                  <c:v>1.4804333970681962</c:v>
                </c:pt>
                <c:pt idx="9">
                  <c:v>1.5542594556380347</c:v>
                </c:pt>
                <c:pt idx="10">
                  <c:v>1.4075067024128687</c:v>
                </c:pt>
                <c:pt idx="11">
                  <c:v>1.7293038100937563</c:v>
                </c:pt>
                <c:pt idx="12">
                  <c:v>1.6711778703152884</c:v>
                </c:pt>
                <c:pt idx="13">
                  <c:v>1.0335570469798658</c:v>
                </c:pt>
                <c:pt idx="14">
                  <c:v>1.4926126513140736</c:v>
                </c:pt>
                <c:pt idx="15">
                  <c:v>0.98886777083898991</c:v>
                </c:pt>
                <c:pt idx="16">
                  <c:v>1.0982489380558018</c:v>
                </c:pt>
                <c:pt idx="17">
                  <c:v>1.7688940764517069</c:v>
                </c:pt>
                <c:pt idx="18">
                  <c:v>1.1858988891407845</c:v>
                </c:pt>
                <c:pt idx="19">
                  <c:v>1.7414992650661441</c:v>
                </c:pt>
                <c:pt idx="20">
                  <c:v>1.2195629552549427</c:v>
                </c:pt>
                <c:pt idx="21">
                  <c:v>1.7497698882314268</c:v>
                </c:pt>
                <c:pt idx="22">
                  <c:v>1.4683661884611414</c:v>
                </c:pt>
                <c:pt idx="23">
                  <c:v>1.2496871088861077</c:v>
                </c:pt>
                <c:pt idx="24">
                  <c:v>1.2724696605679788</c:v>
                </c:pt>
                <c:pt idx="25">
                  <c:v>1.2763448784082534</c:v>
                </c:pt>
                <c:pt idx="26">
                  <c:v>1.0578988059445065</c:v>
                </c:pt>
                <c:pt idx="27">
                  <c:v>1.4180920868150972</c:v>
                </c:pt>
                <c:pt idx="28">
                  <c:v>1.1824965132496512</c:v>
                </c:pt>
                <c:pt idx="29">
                  <c:v>1.2706111293833888</c:v>
                </c:pt>
                <c:pt idx="30">
                  <c:v>1.024143617494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4. vs. 43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Malta</c:v>
                </c:pt>
                <c:pt idx="1">
                  <c:v>Lichtenštejnsko</c:v>
                </c:pt>
                <c:pt idx="2">
                  <c:v>Rakousko</c:v>
                </c:pt>
                <c:pt idx="3">
                  <c:v>Řecko</c:v>
                </c:pt>
                <c:pt idx="4">
                  <c:v>Česká republika</c:v>
                </c:pt>
                <c:pt idx="5">
                  <c:v>Irsko</c:v>
                </c:pt>
                <c:pt idx="6">
                  <c:v>Polsko</c:v>
                </c:pt>
                <c:pt idx="7">
                  <c:v>Maďarsko</c:v>
                </c:pt>
                <c:pt idx="8">
                  <c:v>Nizozemsko</c:v>
                </c:pt>
                <c:pt idx="9">
                  <c:v>Norsko</c:v>
                </c:pt>
                <c:pt idx="10">
                  <c:v>Island</c:v>
                </c:pt>
                <c:pt idx="11">
                  <c:v>Dánsko</c:v>
                </c:pt>
                <c:pt idx="12">
                  <c:v>Slovensko</c:v>
                </c:pt>
                <c:pt idx="13">
                  <c:v>Kypr</c:v>
                </c:pt>
                <c:pt idx="14">
                  <c:v>Německo</c:v>
                </c:pt>
                <c:pt idx="15">
                  <c:v>Finsko</c:v>
                </c:pt>
                <c:pt idx="16">
                  <c:v>Francie</c:v>
                </c:pt>
                <c:pt idx="17">
                  <c:v>Slovinsko</c:v>
                </c:pt>
                <c:pt idx="18">
                  <c:v>Portugalsko</c:v>
                </c:pt>
                <c:pt idx="19">
                  <c:v>Chorvatsko</c:v>
                </c:pt>
                <c:pt idx="20">
                  <c:v>Lucembursko</c:v>
                </c:pt>
                <c:pt idx="21">
                  <c:v>Belgie</c:v>
                </c:pt>
                <c:pt idx="22">
                  <c:v>Bulharsko</c:v>
                </c:pt>
                <c:pt idx="23">
                  <c:v>Estonsko</c:v>
                </c:pt>
                <c:pt idx="24">
                  <c:v>Litva</c:v>
                </c:pt>
                <c:pt idx="25">
                  <c:v>Švédsko</c:v>
                </c:pt>
                <c:pt idx="26">
                  <c:v>Španělsko</c:v>
                </c:pt>
                <c:pt idx="27">
                  <c:v>Itálie</c:v>
                </c:pt>
                <c:pt idx="28">
                  <c:v>Lotyšsko</c:v>
                </c:pt>
                <c:pt idx="29">
                  <c:v>Velká Británie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.4074074074074074</c:v>
                </c:pt>
                <c:pt idx="1">
                  <c:v>2.2244897959183674</c:v>
                </c:pt>
                <c:pt idx="2">
                  <c:v>1.6381768848862719</c:v>
                </c:pt>
                <c:pt idx="3">
                  <c:v>1.6210205463987355</c:v>
                </c:pt>
                <c:pt idx="4">
                  <c:v>1.5548306294235867</c:v>
                </c:pt>
                <c:pt idx="5">
                  <c:v>1.5450256777737967</c:v>
                </c:pt>
                <c:pt idx="6">
                  <c:v>1.4994380469829571</c:v>
                </c:pt>
                <c:pt idx="7">
                  <c:v>1.4665173943691172</c:v>
                </c:pt>
                <c:pt idx="8">
                  <c:v>1.3949357368038153</c:v>
                </c:pt>
                <c:pt idx="9">
                  <c:v>1.3765732265446224</c:v>
                </c:pt>
                <c:pt idx="10">
                  <c:v>1.3760399334442597</c:v>
                </c:pt>
                <c:pt idx="11">
                  <c:v>1.3442816237156814</c:v>
                </c:pt>
                <c:pt idx="12">
                  <c:v>1.296778907629544</c:v>
                </c:pt>
                <c:pt idx="13">
                  <c:v>1.2862632084534102</c:v>
                </c:pt>
                <c:pt idx="14">
                  <c:v>1.2735795891182951</c:v>
                </c:pt>
                <c:pt idx="15">
                  <c:v>1.2353655574447413</c:v>
                </c:pt>
                <c:pt idx="16">
                  <c:v>1.2291750807754442</c:v>
                </c:pt>
                <c:pt idx="17">
                  <c:v>1.2215281989084295</c:v>
                </c:pt>
                <c:pt idx="18">
                  <c:v>1.2210304202567259</c:v>
                </c:pt>
                <c:pt idx="19">
                  <c:v>1.2208959912049944</c:v>
                </c:pt>
                <c:pt idx="20">
                  <c:v>1.0836621941594318</c:v>
                </c:pt>
                <c:pt idx="21">
                  <c:v>0.99898854295014439</c:v>
                </c:pt>
                <c:pt idx="22">
                  <c:v>0.92442812936108243</c:v>
                </c:pt>
                <c:pt idx="23">
                  <c:v>0.87058530923561595</c:v>
                </c:pt>
                <c:pt idx="24">
                  <c:v>0.85874982201338457</c:v>
                </c:pt>
                <c:pt idx="25">
                  <c:v>0.85617711678215314</c:v>
                </c:pt>
                <c:pt idx="26">
                  <c:v>0.80012419467515328</c:v>
                </c:pt>
                <c:pt idx="27">
                  <c:v>0.78234326564180423</c:v>
                </c:pt>
                <c:pt idx="28">
                  <c:v>0.76572497887238922</c:v>
                </c:pt>
                <c:pt idx="29">
                  <c:v>0.68967612954818069</c:v>
                </c:pt>
                <c:pt idx="30">
                  <c:v>0.6687363691618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Rakousko</c:v>
                </c:pt>
                <c:pt idx="2">
                  <c:v>Dán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Lotyšsko</c:v>
                </c:pt>
                <c:pt idx="9">
                  <c:v>Malta</c:v>
                </c:pt>
                <c:pt idx="10">
                  <c:v>Francie</c:v>
                </c:pt>
                <c:pt idx="11">
                  <c:v>Norsko</c:v>
                </c:pt>
                <c:pt idx="12">
                  <c:v>Litva</c:v>
                </c:pt>
                <c:pt idx="13">
                  <c:v>Portugalsko</c:v>
                </c:pt>
                <c:pt idx="14">
                  <c:v>Belgie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Rumunsko</c:v>
                </c:pt>
                <c:pt idx="27">
                  <c:v>Maďar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General</c:formatCode>
                <c:ptCount val="29"/>
                <c:pt idx="0">
                  <c:v>1615153.9687276536</c:v>
                </c:pt>
                <c:pt idx="1">
                  <c:v>1495506.6607767341</c:v>
                </c:pt>
                <c:pt idx="2">
                  <c:v>1465606.7746532015</c:v>
                </c:pt>
                <c:pt idx="3" formatCode="0">
                  <c:v>669797.91604566469</c:v>
                </c:pt>
                <c:pt idx="4">
                  <c:v>577403.25950155559</c:v>
                </c:pt>
                <c:pt idx="5">
                  <c:v>418824.00598131272</c:v>
                </c:pt>
                <c:pt idx="6">
                  <c:v>385766.3766363358</c:v>
                </c:pt>
                <c:pt idx="7">
                  <c:v>315419.32365557732</c:v>
                </c:pt>
                <c:pt idx="8">
                  <c:v>262596.56388011586</c:v>
                </c:pt>
                <c:pt idx="9">
                  <c:v>254993.15925715753</c:v>
                </c:pt>
                <c:pt idx="10">
                  <c:v>216450.20122930084</c:v>
                </c:pt>
                <c:pt idx="11" formatCode="0">
                  <c:v>208685.81371865905</c:v>
                </c:pt>
                <c:pt idx="12">
                  <c:v>207136.81377478893</c:v>
                </c:pt>
                <c:pt idx="13" formatCode="0">
                  <c:v>194991.81665261416</c:v>
                </c:pt>
                <c:pt idx="14">
                  <c:v>194770.53471313367</c:v>
                </c:pt>
                <c:pt idx="15">
                  <c:v>179447.26161091085</c:v>
                </c:pt>
                <c:pt idx="16">
                  <c:v>175255.10395716425</c:v>
                </c:pt>
                <c:pt idx="17">
                  <c:v>170666.11479995647</c:v>
                </c:pt>
                <c:pt idx="18" formatCode="0">
                  <c:v>166858.41706214598</c:v>
                </c:pt>
                <c:pt idx="19">
                  <c:v>158439.05382790961</c:v>
                </c:pt>
                <c:pt idx="20">
                  <c:v>137030.33251455307</c:v>
                </c:pt>
                <c:pt idx="21">
                  <c:v>131927.22909480616</c:v>
                </c:pt>
                <c:pt idx="22">
                  <c:v>126283.01069533154</c:v>
                </c:pt>
                <c:pt idx="23">
                  <c:v>113741.94987143205</c:v>
                </c:pt>
                <c:pt idx="24">
                  <c:v>96611.637076762607</c:v>
                </c:pt>
                <c:pt idx="25">
                  <c:v>82301.327975818684</c:v>
                </c:pt>
                <c:pt idx="26" formatCode="0">
                  <c:v>75050.207363732872</c:v>
                </c:pt>
                <c:pt idx="27">
                  <c:v>74876.734040116178</c:v>
                </c:pt>
                <c:pt idx="28">
                  <c:v>61056.856898512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Chorvatsko</c:v>
                </c:pt>
                <c:pt idx="1">
                  <c:v>Estonsko</c:v>
                </c:pt>
                <c:pt idx="2">
                  <c:v>Maďarsko</c:v>
                </c:pt>
                <c:pt idx="3">
                  <c:v>Rumunsko</c:v>
                </c:pt>
                <c:pt idx="4">
                  <c:v>Polsko</c:v>
                </c:pt>
                <c:pt idx="5">
                  <c:v>Litva</c:v>
                </c:pt>
                <c:pt idx="6">
                  <c:v>Německo</c:v>
                </c:pt>
                <c:pt idx="7">
                  <c:v>Irsko</c:v>
                </c:pt>
                <c:pt idx="8">
                  <c:v>Slovensko</c:v>
                </c:pt>
                <c:pt idx="9">
                  <c:v>Bulharsko</c:v>
                </c:pt>
                <c:pt idx="10">
                  <c:v>Lotyšsko</c:v>
                </c:pt>
                <c:pt idx="11">
                  <c:v>Belgie</c:v>
                </c:pt>
                <c:pt idx="12">
                  <c:v>Slovinsko</c:v>
                </c:pt>
                <c:pt idx="13">
                  <c:v>Lichtenštejnsko</c:v>
                </c:pt>
                <c:pt idx="14">
                  <c:v>Norsko</c:v>
                </c:pt>
                <c:pt idx="15">
                  <c:v>Nizozemsko</c:v>
                </c:pt>
                <c:pt idx="16">
                  <c:v>Lucembursko</c:v>
                </c:pt>
                <c:pt idx="17">
                  <c:v>Česká republika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Dánsko</c:v>
                </c:pt>
                <c:pt idx="24">
                  <c:v>Malta</c:v>
                </c:pt>
                <c:pt idx="25">
                  <c:v>Rakousko</c:v>
                </c:pt>
                <c:pt idx="26">
                  <c:v>Řecko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2899014229905065</c:v>
                </c:pt>
                <c:pt idx="1">
                  <c:v>0.20143017837056082</c:v>
                </c:pt>
                <c:pt idx="2">
                  <c:v>0.18296039984621298</c:v>
                </c:pt>
                <c:pt idx="3">
                  <c:v>0.18148778455081702</c:v>
                </c:pt>
                <c:pt idx="4">
                  <c:v>0.17295820403042581</c:v>
                </c:pt>
                <c:pt idx="5">
                  <c:v>0.14721338836637571</c:v>
                </c:pt>
                <c:pt idx="6">
                  <c:v>0.13352595590599375</c:v>
                </c:pt>
                <c:pt idx="7">
                  <c:v>0.12608201735961139</c:v>
                </c:pt>
                <c:pt idx="8">
                  <c:v>0.12472163302015153</c:v>
                </c:pt>
                <c:pt idx="9">
                  <c:v>0.11191287334136664</c:v>
                </c:pt>
                <c:pt idx="10">
                  <c:v>9.8886090498808338E-2</c:v>
                </c:pt>
                <c:pt idx="11">
                  <c:v>9.8052198166488205E-2</c:v>
                </c:pt>
                <c:pt idx="12">
                  <c:v>8.9577749955985053E-2</c:v>
                </c:pt>
                <c:pt idx="13">
                  <c:v>8.8764044943820231E-2</c:v>
                </c:pt>
                <c:pt idx="14">
                  <c:v>7.1266211486996495E-2</c:v>
                </c:pt>
                <c:pt idx="15">
                  <c:v>7.1076264650247273E-2</c:v>
                </c:pt>
                <c:pt idx="16">
                  <c:v>6.9570717052731434E-2</c:v>
                </c:pt>
                <c:pt idx="17">
                  <c:v>6.7933404120691668E-2</c:v>
                </c:pt>
                <c:pt idx="18">
                  <c:v>5.8982625024835124E-2</c:v>
                </c:pt>
                <c:pt idx="19">
                  <c:v>3.0701754385964911E-2</c:v>
                </c:pt>
                <c:pt idx="20">
                  <c:v>2.7765382408736501E-2</c:v>
                </c:pt>
                <c:pt idx="21">
                  <c:v>2.4932636623993785E-2</c:v>
                </c:pt>
                <c:pt idx="22">
                  <c:v>2.2786449377747472E-2</c:v>
                </c:pt>
                <c:pt idx="23">
                  <c:v>1.409901014170427E-2</c:v>
                </c:pt>
                <c:pt idx="24">
                  <c:v>1.2987012987012988E-2</c:v>
                </c:pt>
                <c:pt idx="25">
                  <c:v>1.1661789352334763E-2</c:v>
                </c:pt>
                <c:pt idx="26">
                  <c:v>9.6708662014257686E-3</c:v>
                </c:pt>
                <c:pt idx="27">
                  <c:v>8.9581377528105965E-3</c:v>
                </c:pt>
                <c:pt idx="28">
                  <c:v>3.388262092038295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3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Chorvatsko</c:v>
                </c:pt>
                <c:pt idx="1">
                  <c:v>Maďarsko</c:v>
                </c:pt>
                <c:pt idx="2">
                  <c:v>Estonsko</c:v>
                </c:pt>
                <c:pt idx="3">
                  <c:v>Polsko</c:v>
                </c:pt>
                <c:pt idx="4">
                  <c:v>Litva</c:v>
                </c:pt>
                <c:pt idx="5">
                  <c:v>Rumunsko</c:v>
                </c:pt>
                <c:pt idx="6">
                  <c:v>Lichtenštejnsko</c:v>
                </c:pt>
                <c:pt idx="7">
                  <c:v>Německo</c:v>
                </c:pt>
                <c:pt idx="8">
                  <c:v>Irsko</c:v>
                </c:pt>
                <c:pt idx="9">
                  <c:v>Slovensko</c:v>
                </c:pt>
                <c:pt idx="10">
                  <c:v>Bulharsko</c:v>
                </c:pt>
                <c:pt idx="11">
                  <c:v>Belgie</c:v>
                </c:pt>
                <c:pt idx="12">
                  <c:v>Slovinsko</c:v>
                </c:pt>
                <c:pt idx="13">
                  <c:v>Lotyšsko</c:v>
                </c:pt>
                <c:pt idx="14">
                  <c:v>Česká republika</c:v>
                </c:pt>
                <c:pt idx="15">
                  <c:v>Lucembursko</c:v>
                </c:pt>
                <c:pt idx="16">
                  <c:v>Nizozemsko</c:v>
                </c:pt>
                <c:pt idx="17">
                  <c:v>Norsko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Malta</c:v>
                </c:pt>
                <c:pt idx="24">
                  <c:v>Dánsko</c:v>
                </c:pt>
                <c:pt idx="25">
                  <c:v>Rakousko</c:v>
                </c:pt>
                <c:pt idx="26">
                  <c:v>Řecko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013136886036328</c:v>
                </c:pt>
                <c:pt idx="1">
                  <c:v>0.16136845697309521</c:v>
                </c:pt>
                <c:pt idx="2">
                  <c:v>0.21004788855028297</c:v>
                </c:pt>
                <c:pt idx="3">
                  <c:v>0.15054810327419588</c:v>
                </c:pt>
                <c:pt idx="4">
                  <c:v>0.13795474188732615</c:v>
                </c:pt>
                <c:pt idx="5">
                  <c:v>0.20528497054391012</c:v>
                </c:pt>
                <c:pt idx="6">
                  <c:v>4.5880149812734083E-2</c:v>
                </c:pt>
                <c:pt idx="7">
                  <c:v>0.11781022476831653</c:v>
                </c:pt>
                <c:pt idx="8">
                  <c:v>0.10590958536770473</c:v>
                </c:pt>
                <c:pt idx="9">
                  <c:v>0.11236470121375498</c:v>
                </c:pt>
                <c:pt idx="10">
                  <c:v>0.11389811298587763</c:v>
                </c:pt>
                <c:pt idx="11">
                  <c:v>9.2281244219376057E-2</c:v>
                </c:pt>
                <c:pt idx="12">
                  <c:v>7.931278287344104E-2</c:v>
                </c:pt>
                <c:pt idx="13">
                  <c:v>0.10652143160277266</c:v>
                </c:pt>
                <c:pt idx="14">
                  <c:v>4.9226114946484004E-2</c:v>
                </c:pt>
                <c:pt idx="15">
                  <c:v>6.1412437593912073E-2</c:v>
                </c:pt>
                <c:pt idx="16">
                  <c:v>6.2645587311875875E-2</c:v>
                </c:pt>
                <c:pt idx="17">
                  <c:v>6.5397134198810283E-2</c:v>
                </c:pt>
                <c:pt idx="18">
                  <c:v>5.1736704534030363E-2</c:v>
                </c:pt>
                <c:pt idx="19">
                  <c:v>2.6132707191929734E-2</c:v>
                </c:pt>
                <c:pt idx="20">
                  <c:v>2.4670096563451645E-2</c:v>
                </c:pt>
                <c:pt idx="21">
                  <c:v>2.1262424236243912E-2</c:v>
                </c:pt>
                <c:pt idx="22">
                  <c:v>2.3064707577892397E-2</c:v>
                </c:pt>
                <c:pt idx="23">
                  <c:v>8.7812017237173749E-3</c:v>
                </c:pt>
                <c:pt idx="24">
                  <c:v>1.5134578445780507E-2</c:v>
                </c:pt>
                <c:pt idx="25">
                  <c:v>1.1269064362543536E-2</c:v>
                </c:pt>
                <c:pt idx="26">
                  <c:v>8.5802072113261053E-3</c:v>
                </c:pt>
                <c:pt idx="27">
                  <c:v>9.8705254570199408E-3</c:v>
                </c:pt>
                <c:pt idx="28">
                  <c:v>3.088067777303146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4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Chorvatsko</c:v>
                </c:pt>
                <c:pt idx="1">
                  <c:v>Maďarsko</c:v>
                </c:pt>
                <c:pt idx="2">
                  <c:v>Estonsko</c:v>
                </c:pt>
                <c:pt idx="3">
                  <c:v>Polsko</c:v>
                </c:pt>
                <c:pt idx="4">
                  <c:v>Litva</c:v>
                </c:pt>
                <c:pt idx="5">
                  <c:v>Rumunsko</c:v>
                </c:pt>
                <c:pt idx="6">
                  <c:v>Lichtenštejnsko</c:v>
                </c:pt>
                <c:pt idx="7">
                  <c:v>Německo</c:v>
                </c:pt>
                <c:pt idx="8">
                  <c:v>Irsko</c:v>
                </c:pt>
                <c:pt idx="9">
                  <c:v>Slovensko</c:v>
                </c:pt>
                <c:pt idx="10">
                  <c:v>Bulharsko</c:v>
                </c:pt>
                <c:pt idx="11">
                  <c:v>Belgie</c:v>
                </c:pt>
                <c:pt idx="12">
                  <c:v>Slovinsko</c:v>
                </c:pt>
                <c:pt idx="13">
                  <c:v>Lotyšsko</c:v>
                </c:pt>
                <c:pt idx="14">
                  <c:v>Česká republika</c:v>
                </c:pt>
                <c:pt idx="15">
                  <c:v>Lucembursko</c:v>
                </c:pt>
                <c:pt idx="16">
                  <c:v>Nizozemsko</c:v>
                </c:pt>
                <c:pt idx="17">
                  <c:v>Norsko</c:v>
                </c:pt>
                <c:pt idx="18">
                  <c:v>Finsko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Španělsko</c:v>
                </c:pt>
                <c:pt idx="23">
                  <c:v>Malta</c:v>
                </c:pt>
                <c:pt idx="24">
                  <c:v>Dánsko</c:v>
                </c:pt>
                <c:pt idx="25">
                  <c:v>Rakousko</c:v>
                </c:pt>
                <c:pt idx="26">
                  <c:v>Řecko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5804765105683769</c:v>
                </c:pt>
                <c:pt idx="1">
                  <c:v>0.20132975089940344</c:v>
                </c:pt>
                <c:pt idx="2">
                  <c:v>0.19236476213156498</c:v>
                </c:pt>
                <c:pt idx="3">
                  <c:v>0.19202110339815676</c:v>
                </c:pt>
                <c:pt idx="4">
                  <c:v>0.15969390457024837</c:v>
                </c:pt>
                <c:pt idx="5">
                  <c:v>0.15467543600925082</c:v>
                </c:pt>
                <c:pt idx="6">
                  <c:v>0.15308988764044945</c:v>
                </c:pt>
                <c:pt idx="7">
                  <c:v>0.1491482045269098</c:v>
                </c:pt>
                <c:pt idx="8">
                  <c:v>0.14381079428603191</c:v>
                </c:pt>
                <c:pt idx="9">
                  <c:v>0.13627855933911587</c:v>
                </c:pt>
                <c:pt idx="10">
                  <c:v>0.10984182143269119</c:v>
                </c:pt>
                <c:pt idx="11">
                  <c:v>0.10460015789575029</c:v>
                </c:pt>
                <c:pt idx="12">
                  <c:v>0.10019349286961365</c:v>
                </c:pt>
                <c:pt idx="13">
                  <c:v>9.0421778211808648E-2</c:v>
                </c:pt>
                <c:pt idx="14">
                  <c:v>8.990864626702777E-2</c:v>
                </c:pt>
                <c:pt idx="15">
                  <c:v>7.9290829290829284E-2</c:v>
                </c:pt>
                <c:pt idx="16">
                  <c:v>7.866557869520921E-2</c:v>
                </c:pt>
                <c:pt idx="17">
                  <c:v>7.6236416056775336E-2</c:v>
                </c:pt>
                <c:pt idx="18">
                  <c:v>6.6524531411455409E-2</c:v>
                </c:pt>
                <c:pt idx="19">
                  <c:v>3.5170536701539509E-2</c:v>
                </c:pt>
                <c:pt idx="20">
                  <c:v>3.094515523826076E-2</c:v>
                </c:pt>
                <c:pt idx="21">
                  <c:v>2.9005993003298206E-2</c:v>
                </c:pt>
                <c:pt idx="22">
                  <c:v>2.2447979616502793E-2</c:v>
                </c:pt>
                <c:pt idx="23">
                  <c:v>1.6212508573922802E-2</c:v>
                </c:pt>
                <c:pt idx="24">
                  <c:v>1.3416128603872035E-2</c:v>
                </c:pt>
                <c:pt idx="25">
                  <c:v>1.1915269382126739E-2</c:v>
                </c:pt>
                <c:pt idx="26">
                  <c:v>1.0493739493044977E-2</c:v>
                </c:pt>
                <c:pt idx="27">
                  <c:v>8.0115549342017894E-3</c:v>
                </c:pt>
                <c:pt idx="28">
                  <c:v>3.66526972169680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H$2:$H$45</c:f>
              <c:numCache>
                <c:formatCode>0.0%</c:formatCode>
                <c:ptCount val="44"/>
                <c:pt idx="0">
                  <c:v>4.8301828152973056E-2</c:v>
                </c:pt>
                <c:pt idx="1">
                  <c:v>4.6174331460271778E-2</c:v>
                </c:pt>
                <c:pt idx="2">
                  <c:v>4.9433045529424582E-2</c:v>
                </c:pt>
                <c:pt idx="3">
                  <c:v>4.7978187114365231E-2</c:v>
                </c:pt>
                <c:pt idx="4">
                  <c:v>4.4145173514618406E-2</c:v>
                </c:pt>
                <c:pt idx="5">
                  <c:v>4.3174882981777879E-2</c:v>
                </c:pt>
                <c:pt idx="6">
                  <c:v>5.8835020756240961E-2</c:v>
                </c:pt>
                <c:pt idx="7">
                  <c:v>5.8802924366017424E-2</c:v>
                </c:pt>
                <c:pt idx="8">
                  <c:v>5.3993334475502093E-2</c:v>
                </c:pt>
                <c:pt idx="9">
                  <c:v>6.3377714003434407E-2</c:v>
                </c:pt>
                <c:pt idx="10">
                  <c:v>7.1123396631515248E-2</c:v>
                </c:pt>
                <c:pt idx="11">
                  <c:v>7.1207996129029574E-2</c:v>
                </c:pt>
                <c:pt idx="12">
                  <c:v>7.2776234876422027E-2</c:v>
                </c:pt>
                <c:pt idx="13">
                  <c:v>8.5721501581978776E-2</c:v>
                </c:pt>
                <c:pt idx="14">
                  <c:v>8.7193306315290653E-2</c:v>
                </c:pt>
                <c:pt idx="15">
                  <c:v>7.929676710709721E-2</c:v>
                </c:pt>
                <c:pt idx="16">
                  <c:v>6.3284394445230485E-2</c:v>
                </c:pt>
                <c:pt idx="17">
                  <c:v>5.7257888364241394E-2</c:v>
                </c:pt>
                <c:pt idx="18">
                  <c:v>5.0551819512988774E-2</c:v>
                </c:pt>
                <c:pt idx="19">
                  <c:v>4.8513196711197852E-2</c:v>
                </c:pt>
                <c:pt idx="20">
                  <c:v>3.9665347947337698E-2</c:v>
                </c:pt>
                <c:pt idx="21">
                  <c:v>2.9208559815248412E-2</c:v>
                </c:pt>
                <c:pt idx="22">
                  <c:v>1.8953842620668373E-2</c:v>
                </c:pt>
                <c:pt idx="23">
                  <c:v>1.1060944782945397E-2</c:v>
                </c:pt>
                <c:pt idx="24">
                  <c:v>8.3328244067612592E-3</c:v>
                </c:pt>
                <c:pt idx="25">
                  <c:v>9.0309902072270003E-3</c:v>
                </c:pt>
                <c:pt idx="26">
                  <c:v>1.7586251302403447E-2</c:v>
                </c:pt>
                <c:pt idx="27">
                  <c:v>1.897218897024025E-2</c:v>
                </c:pt>
                <c:pt idx="28">
                  <c:v>2.4627330885612093E-2</c:v>
                </c:pt>
                <c:pt idx="29">
                  <c:v>2.9404099843115587E-2</c:v>
                </c:pt>
                <c:pt idx="30">
                  <c:v>3.4770399970442033E-2</c:v>
                </c:pt>
                <c:pt idx="31">
                  <c:v>3.7955930400857617E-2</c:v>
                </c:pt>
                <c:pt idx="32">
                  <c:v>4.5110132158590312E-2</c:v>
                </c:pt>
                <c:pt idx="33">
                  <c:v>4.9224017944039987E-2</c:v>
                </c:pt>
                <c:pt idx="34">
                  <c:v>4.8743403354941151E-2</c:v>
                </c:pt>
                <c:pt idx="35">
                  <c:v>4.5960793229927681E-2</c:v>
                </c:pt>
                <c:pt idx="36">
                  <c:v>4.3749130521566086E-2</c:v>
                </c:pt>
                <c:pt idx="37">
                  <c:v>4.098562825981026E-2</c:v>
                </c:pt>
                <c:pt idx="38">
                  <c:v>4.2824159794428579E-2</c:v>
                </c:pt>
                <c:pt idx="39">
                  <c:v>4.7647668128748447E-2</c:v>
                </c:pt>
                <c:pt idx="40">
                  <c:v>6.4828601304812342E-2</c:v>
                </c:pt>
                <c:pt idx="41">
                  <c:v>8.5000691997317177E-2</c:v>
                </c:pt>
                <c:pt idx="42">
                  <c:v>9.2281244219376057E-2</c:v>
                </c:pt>
                <c:pt idx="43">
                  <c:v>0.10460015789575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C$2:$C$45</c:f>
              <c:numCache>
                <c:formatCode>0.0%</c:formatCode>
                <c:ptCount val="44"/>
                <c:pt idx="0">
                  <c:v>0.20383060772036654</c:v>
                </c:pt>
                <c:pt idx="1">
                  <c:v>0.15124287184324486</c:v>
                </c:pt>
                <c:pt idx="2">
                  <c:v>0.14586140184623955</c:v>
                </c:pt>
                <c:pt idx="3">
                  <c:v>0.13094764415265758</c:v>
                </c:pt>
                <c:pt idx="4">
                  <c:v>0.12607997341603899</c:v>
                </c:pt>
                <c:pt idx="5">
                  <c:v>0.12898055397549241</c:v>
                </c:pt>
                <c:pt idx="6">
                  <c:v>0.13558275561043726</c:v>
                </c:pt>
                <c:pt idx="7">
                  <c:v>0.13955421257007491</c:v>
                </c:pt>
                <c:pt idx="8">
                  <c:v>0.11581632653061225</c:v>
                </c:pt>
                <c:pt idx="9">
                  <c:v>6.5013536940600886E-2</c:v>
                </c:pt>
                <c:pt idx="10">
                  <c:v>5.1076944359512266E-2</c:v>
                </c:pt>
                <c:pt idx="11">
                  <c:v>3.8216156901534702E-2</c:v>
                </c:pt>
                <c:pt idx="12">
                  <c:v>3.0650319829424306E-2</c:v>
                </c:pt>
                <c:pt idx="13">
                  <c:v>2.0957763035844939E-2</c:v>
                </c:pt>
                <c:pt idx="14">
                  <c:v>1.598930826907919E-2</c:v>
                </c:pt>
                <c:pt idx="15">
                  <c:v>1.2921795125758737E-2</c:v>
                </c:pt>
                <c:pt idx="16">
                  <c:v>1.04872263398342E-2</c:v>
                </c:pt>
                <c:pt idx="17">
                  <c:v>7.4948191777203556E-3</c:v>
                </c:pt>
                <c:pt idx="18">
                  <c:v>5.2690997096505798E-3</c:v>
                </c:pt>
                <c:pt idx="19">
                  <c:v>3.1222510717498798E-3</c:v>
                </c:pt>
                <c:pt idx="20">
                  <c:v>2.2639770269791185E-3</c:v>
                </c:pt>
                <c:pt idx="21">
                  <c:v>1.8119174117848776E-3</c:v>
                </c:pt>
                <c:pt idx="22">
                  <c:v>1.2673056633785383E-3</c:v>
                </c:pt>
                <c:pt idx="23">
                  <c:v>8.6963646588678707E-4</c:v>
                </c:pt>
                <c:pt idx="24">
                  <c:v>7.4047283256539591E-4</c:v>
                </c:pt>
                <c:pt idx="25">
                  <c:v>1.143781227492424E-3</c:v>
                </c:pt>
                <c:pt idx="26">
                  <c:v>2.5243043292376898E-3</c:v>
                </c:pt>
                <c:pt idx="27">
                  <c:v>2.216677848789231E-3</c:v>
                </c:pt>
                <c:pt idx="28">
                  <c:v>1.8562069428506964E-3</c:v>
                </c:pt>
                <c:pt idx="29">
                  <c:v>1.5598702844710809E-3</c:v>
                </c:pt>
                <c:pt idx="30">
                  <c:v>1.6343263186663023E-3</c:v>
                </c:pt>
                <c:pt idx="31">
                  <c:v>1.7179100197505799E-3</c:v>
                </c:pt>
                <c:pt idx="32">
                  <c:v>1.9275399307925618E-3</c:v>
                </c:pt>
                <c:pt idx="33">
                  <c:v>2.3273745690457408E-3</c:v>
                </c:pt>
                <c:pt idx="34">
                  <c:v>3.1162411365198532E-3</c:v>
                </c:pt>
                <c:pt idx="35">
                  <c:v>4.9411447586470035E-3</c:v>
                </c:pt>
                <c:pt idx="36">
                  <c:v>6.0325532470203022E-3</c:v>
                </c:pt>
                <c:pt idx="37">
                  <c:v>6.3226150881561536E-3</c:v>
                </c:pt>
                <c:pt idx="38">
                  <c:v>9.8210049695334582E-3</c:v>
                </c:pt>
                <c:pt idx="39">
                  <c:v>1.333053051530853E-2</c:v>
                </c:pt>
                <c:pt idx="40">
                  <c:v>1.9561134643371083E-2</c:v>
                </c:pt>
                <c:pt idx="41">
                  <c:v>3.6722623975756007E-2</c:v>
                </c:pt>
                <c:pt idx="42">
                  <c:v>4.9226114946484004E-2</c:v>
                </c:pt>
                <c:pt idx="43">
                  <c:v>8.99086462670277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D$2:$D$45</c:f>
              <c:numCache>
                <c:formatCode>0.0%</c:formatCode>
                <c:ptCount val="44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19963646944673E-2</c:v>
                </c:pt>
                <c:pt idx="40">
                  <c:v>1.1529827699139957E-2</c:v>
                </c:pt>
                <c:pt idx="41">
                  <c:v>1.7521868206180582E-2</c:v>
                </c:pt>
                <c:pt idx="42">
                  <c:v>2.1262424236243912E-2</c:v>
                </c:pt>
                <c:pt idx="43">
                  <c:v>2.90059930032982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F$2:$F$45</c:f>
              <c:numCache>
                <c:formatCode>0.0%</c:formatCode>
                <c:ptCount val="44"/>
                <c:pt idx="0">
                  <c:v>0.12647832276808751</c:v>
                </c:pt>
                <c:pt idx="1">
                  <c:v>7.148260585615894E-2</c:v>
                </c:pt>
                <c:pt idx="2">
                  <c:v>5.6261795792822866E-2</c:v>
                </c:pt>
                <c:pt idx="3">
                  <c:v>4.7687094813789646E-2</c:v>
                </c:pt>
                <c:pt idx="4">
                  <c:v>4.9125589622641512E-2</c:v>
                </c:pt>
                <c:pt idx="5">
                  <c:v>4.612330447350424E-2</c:v>
                </c:pt>
                <c:pt idx="6">
                  <c:v>4.7498939354344523E-2</c:v>
                </c:pt>
                <c:pt idx="7">
                  <c:v>5.8579096486507859E-2</c:v>
                </c:pt>
                <c:pt idx="8">
                  <c:v>6.4527470657813404E-2</c:v>
                </c:pt>
                <c:pt idx="9">
                  <c:v>6.8412104756103931E-2</c:v>
                </c:pt>
                <c:pt idx="10">
                  <c:v>6.585776409321048E-2</c:v>
                </c:pt>
                <c:pt idx="11">
                  <c:v>6.558783866617629E-2</c:v>
                </c:pt>
                <c:pt idx="12">
                  <c:v>6.2389937106918238E-2</c:v>
                </c:pt>
                <c:pt idx="13">
                  <c:v>5.4309764327917003E-2</c:v>
                </c:pt>
                <c:pt idx="14">
                  <c:v>4.7954037550905139E-2</c:v>
                </c:pt>
                <c:pt idx="15">
                  <c:v>4.4925779186866528E-2</c:v>
                </c:pt>
                <c:pt idx="16">
                  <c:v>3.9191294890560127E-2</c:v>
                </c:pt>
                <c:pt idx="17">
                  <c:v>3.2141087822709941E-2</c:v>
                </c:pt>
                <c:pt idx="18">
                  <c:v>2.4569087023293086E-2</c:v>
                </c:pt>
                <c:pt idx="19">
                  <c:v>1.8369157498494701E-2</c:v>
                </c:pt>
                <c:pt idx="20">
                  <c:v>1.4674559468480317E-2</c:v>
                </c:pt>
                <c:pt idx="21">
                  <c:v>1.3092594038619289E-2</c:v>
                </c:pt>
                <c:pt idx="22">
                  <c:v>9.055216145910823E-3</c:v>
                </c:pt>
                <c:pt idx="23">
                  <c:v>5.6421917674600074E-3</c:v>
                </c:pt>
                <c:pt idx="24">
                  <c:v>4.3295915993096989E-3</c:v>
                </c:pt>
                <c:pt idx="25">
                  <c:v>4.6559486381619053E-3</c:v>
                </c:pt>
                <c:pt idx="26">
                  <c:v>7.5262606165629074E-3</c:v>
                </c:pt>
                <c:pt idx="27">
                  <c:v>1.4683204200410971E-2</c:v>
                </c:pt>
                <c:pt idx="28">
                  <c:v>2.1757298281339883E-2</c:v>
                </c:pt>
                <c:pt idx="29">
                  <c:v>2.5854293814787401E-2</c:v>
                </c:pt>
                <c:pt idx="30">
                  <c:v>2.9054347796367334E-2</c:v>
                </c:pt>
                <c:pt idx="31">
                  <c:v>3.0107541899441342E-2</c:v>
                </c:pt>
                <c:pt idx="32">
                  <c:v>3.2426254653728247E-2</c:v>
                </c:pt>
                <c:pt idx="33">
                  <c:v>2.8496961748309037E-2</c:v>
                </c:pt>
                <c:pt idx="34">
                  <c:v>2.1009817376809535E-2</c:v>
                </c:pt>
                <c:pt idx="35">
                  <c:v>1.706145256596614E-2</c:v>
                </c:pt>
                <c:pt idx="36">
                  <c:v>1.4679247086676152E-2</c:v>
                </c:pt>
                <c:pt idx="37">
                  <c:v>1.1936642535592576E-2</c:v>
                </c:pt>
                <c:pt idx="38">
                  <c:v>1.0417982982995483E-2</c:v>
                </c:pt>
                <c:pt idx="39">
                  <c:v>9.2689684613647058E-3</c:v>
                </c:pt>
                <c:pt idx="40">
                  <c:v>7.4505410845256805E-3</c:v>
                </c:pt>
                <c:pt idx="41">
                  <c:v>7.6055691559069492E-3</c:v>
                </c:pt>
                <c:pt idx="42">
                  <c:v>9.8705254570199408E-3</c:v>
                </c:pt>
                <c:pt idx="43">
                  <c:v>8.011554934201789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J$2:$J$45</c:f>
              <c:numCache>
                <c:formatCode>0.0%</c:formatCode>
                <c:ptCount val="44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4589665911424</c:v>
                </c:pt>
                <c:pt idx="42">
                  <c:v>0.16136845697309521</c:v>
                </c:pt>
                <c:pt idx="43">
                  <c:v>0.20132975089940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E$2:$E$45</c:f>
              <c:numCache>
                <c:formatCode>0.0%</c:formatCode>
                <c:ptCount val="44"/>
                <c:pt idx="0">
                  <c:v>0.11810817724469204</c:v>
                </c:pt>
                <c:pt idx="1">
                  <c:v>0.10010660478087918</c:v>
                </c:pt>
                <c:pt idx="2">
                  <c:v>8.5766236564932791E-2</c:v>
                </c:pt>
                <c:pt idx="3">
                  <c:v>6.7837583674660237E-2</c:v>
                </c:pt>
                <c:pt idx="4">
                  <c:v>5.8604683254365186E-2</c:v>
                </c:pt>
                <c:pt idx="5">
                  <c:v>4.7901097678488255E-2</c:v>
                </c:pt>
                <c:pt idx="6">
                  <c:v>4.7486881713802456E-2</c:v>
                </c:pt>
                <c:pt idx="7">
                  <c:v>4.8086786289104434E-2</c:v>
                </c:pt>
                <c:pt idx="8">
                  <c:v>5.0614340093820182E-2</c:v>
                </c:pt>
                <c:pt idx="9">
                  <c:v>5.5708761376508729E-2</c:v>
                </c:pt>
                <c:pt idx="10">
                  <c:v>6.7561887275471175E-2</c:v>
                </c:pt>
                <c:pt idx="11">
                  <c:v>8.1959170208251539E-2</c:v>
                </c:pt>
                <c:pt idx="12">
                  <c:v>9.3085113128790364E-2</c:v>
                </c:pt>
                <c:pt idx="13">
                  <c:v>0.1007251289458802</c:v>
                </c:pt>
                <c:pt idx="14">
                  <c:v>0.10788412308220389</c:v>
                </c:pt>
                <c:pt idx="15">
                  <c:v>0.10108843518412475</c:v>
                </c:pt>
                <c:pt idx="16">
                  <c:v>9.1383865544249362E-2</c:v>
                </c:pt>
                <c:pt idx="17">
                  <c:v>8.0154653086235525E-2</c:v>
                </c:pt>
                <c:pt idx="18">
                  <c:v>6.4162803930024964E-2</c:v>
                </c:pt>
                <c:pt idx="19">
                  <c:v>4.3154532798296619E-2</c:v>
                </c:pt>
                <c:pt idx="20">
                  <c:v>3.1402830049830743E-2</c:v>
                </c:pt>
                <c:pt idx="21">
                  <c:v>2.3391323237900417E-2</c:v>
                </c:pt>
                <c:pt idx="22">
                  <c:v>1.6795013449178626E-2</c:v>
                </c:pt>
                <c:pt idx="23">
                  <c:v>9.9449585478471984E-3</c:v>
                </c:pt>
                <c:pt idx="24">
                  <c:v>6.7419944938745405E-3</c:v>
                </c:pt>
                <c:pt idx="25">
                  <c:v>4.809914808373875E-3</c:v>
                </c:pt>
                <c:pt idx="26">
                  <c:v>9.0979623504430559E-3</c:v>
                </c:pt>
                <c:pt idx="27">
                  <c:v>1.4962897148592395E-2</c:v>
                </c:pt>
                <c:pt idx="28">
                  <c:v>2.1243661057101803E-2</c:v>
                </c:pt>
                <c:pt idx="29">
                  <c:v>2.6561795518404166E-2</c:v>
                </c:pt>
                <c:pt idx="30">
                  <c:v>3.4587287082451033E-2</c:v>
                </c:pt>
                <c:pt idx="31">
                  <c:v>5.6434744025861523E-2</c:v>
                </c:pt>
                <c:pt idx="32">
                  <c:v>7.1801797107490656E-2</c:v>
                </c:pt>
                <c:pt idx="33">
                  <c:v>7.697227006624914E-2</c:v>
                </c:pt>
                <c:pt idx="34">
                  <c:v>7.8867732010051372E-2</c:v>
                </c:pt>
                <c:pt idx="35">
                  <c:v>7.0868081074050154E-2</c:v>
                </c:pt>
                <c:pt idx="36">
                  <c:v>6.2543399684365938E-2</c:v>
                </c:pt>
                <c:pt idx="37">
                  <c:v>5.5699760597684563E-2</c:v>
                </c:pt>
                <c:pt idx="38">
                  <c:v>5.854746517007791E-2</c:v>
                </c:pt>
                <c:pt idx="39">
                  <c:v>6.0450546868881988E-2</c:v>
                </c:pt>
                <c:pt idx="40">
                  <c:v>7.5967174404333856E-2</c:v>
                </c:pt>
                <c:pt idx="41">
                  <c:v>0.10727222005982907</c:v>
                </c:pt>
                <c:pt idx="42">
                  <c:v>0.11781022476831653</c:v>
                </c:pt>
                <c:pt idx="43">
                  <c:v>0.1491482045269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G$2:$G$45</c:f>
              <c:numCache>
                <c:formatCode>0.0%</c:formatCode>
                <c:ptCount val="44"/>
                <c:pt idx="0">
                  <c:v>0.12414609425729668</c:v>
                </c:pt>
                <c:pt idx="1">
                  <c:v>0.11438158743815874</c:v>
                </c:pt>
                <c:pt idx="2">
                  <c:v>0.11184843121283203</c:v>
                </c:pt>
                <c:pt idx="3">
                  <c:v>0.11076562872822715</c:v>
                </c:pt>
                <c:pt idx="4">
                  <c:v>0.10710338394487862</c:v>
                </c:pt>
                <c:pt idx="5">
                  <c:v>0.10156314043239838</c:v>
                </c:pt>
                <c:pt idx="6">
                  <c:v>8.918302710848286E-2</c:v>
                </c:pt>
                <c:pt idx="7">
                  <c:v>8.5957444521479284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5074508140211E-2</c:v>
                </c:pt>
                <c:pt idx="11">
                  <c:v>7.8181642455752251E-2</c:v>
                </c:pt>
                <c:pt idx="12">
                  <c:v>8.5479614906234749E-2</c:v>
                </c:pt>
                <c:pt idx="13">
                  <c:v>8.9983315114205167E-2</c:v>
                </c:pt>
                <c:pt idx="14">
                  <c:v>8.9951099376013824E-2</c:v>
                </c:pt>
                <c:pt idx="15">
                  <c:v>9.4596043487655893E-2</c:v>
                </c:pt>
                <c:pt idx="16">
                  <c:v>9.7686326688905839E-2</c:v>
                </c:pt>
                <c:pt idx="17">
                  <c:v>0.1262152272393742</c:v>
                </c:pt>
                <c:pt idx="18">
                  <c:v>0.11592733058631695</c:v>
                </c:pt>
                <c:pt idx="19">
                  <c:v>8.0888940098803125E-2</c:v>
                </c:pt>
                <c:pt idx="20">
                  <c:v>7.4104077460170503E-2</c:v>
                </c:pt>
                <c:pt idx="21">
                  <c:v>5.512108543577583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312403480909E-2</c:v>
                </c:pt>
                <c:pt idx="26">
                  <c:v>6.0363228900265624E-2</c:v>
                </c:pt>
                <c:pt idx="27">
                  <c:v>9.4411983727597501E-2</c:v>
                </c:pt>
                <c:pt idx="28">
                  <c:v>4.8721701235239251E-2</c:v>
                </c:pt>
                <c:pt idx="29">
                  <c:v>3.3205480347026944E-2</c:v>
                </c:pt>
                <c:pt idx="30">
                  <c:v>2.8893011274618172E-2</c:v>
                </c:pt>
                <c:pt idx="31">
                  <c:v>3.0901618437025942E-2</c:v>
                </c:pt>
                <c:pt idx="32">
                  <c:v>3.5908254505245422E-2</c:v>
                </c:pt>
                <c:pt idx="33">
                  <c:v>4.3689415546865049E-2</c:v>
                </c:pt>
                <c:pt idx="34">
                  <c:v>4.5938234001212115E-2</c:v>
                </c:pt>
                <c:pt idx="35">
                  <c:v>4.4311901069625036E-2</c:v>
                </c:pt>
                <c:pt idx="36">
                  <c:v>3.7977391765922991E-2</c:v>
                </c:pt>
                <c:pt idx="37">
                  <c:v>2.3980622220019576E-2</c:v>
                </c:pt>
                <c:pt idx="38">
                  <c:v>1.9971037410876025E-2</c:v>
                </c:pt>
                <c:pt idx="39">
                  <c:v>3.1657304528161956E-2</c:v>
                </c:pt>
                <c:pt idx="40">
                  <c:v>3.5630748268422843E-2</c:v>
                </c:pt>
                <c:pt idx="41">
                  <c:v>4.5397156716738787E-2</c:v>
                </c:pt>
                <c:pt idx="42">
                  <c:v>6.2645587311875875E-2</c:v>
                </c:pt>
                <c:pt idx="43">
                  <c:v>7.86655786952092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I$2:$I$45</c:f>
              <c:numCache>
                <c:formatCode>0.0%</c:formatCode>
                <c:ptCount val="44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  <c:pt idx="42">
                  <c:v>0.15054810327419588</c:v>
                </c:pt>
                <c:pt idx="43">
                  <c:v>0.192021103398156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B$2:$B$45</c:f>
              <c:numCache>
                <c:formatCode>0.0%</c:formatCode>
                <c:ptCount val="44"/>
                <c:pt idx="0">
                  <c:v>0.10679753347684898</c:v>
                </c:pt>
                <c:pt idx="1">
                  <c:v>1.2007875095285362E-2</c:v>
                </c:pt>
                <c:pt idx="2">
                  <c:v>8.8792686859189181E-3</c:v>
                </c:pt>
                <c:pt idx="3">
                  <c:v>1.4503296411692311E-2</c:v>
                </c:pt>
                <c:pt idx="4">
                  <c:v>9.4930249801100514E-3</c:v>
                </c:pt>
                <c:pt idx="5">
                  <c:v>6.4037155624362269E-3</c:v>
                </c:pt>
                <c:pt idx="6">
                  <c:v>7.7532963335576414E-3</c:v>
                </c:pt>
                <c:pt idx="7">
                  <c:v>8.975691756430957E-3</c:v>
                </c:pt>
                <c:pt idx="8">
                  <c:v>9.8912321633642421E-3</c:v>
                </c:pt>
                <c:pt idx="9">
                  <c:v>9.9626543908140942E-3</c:v>
                </c:pt>
                <c:pt idx="10">
                  <c:v>1.0592370259408368E-2</c:v>
                </c:pt>
                <c:pt idx="11">
                  <c:v>1.0723457412946081E-2</c:v>
                </c:pt>
                <c:pt idx="12">
                  <c:v>9.580810722985696E-3</c:v>
                </c:pt>
                <c:pt idx="13">
                  <c:v>8.5160716185759475E-3</c:v>
                </c:pt>
                <c:pt idx="14">
                  <c:v>7.7651229220020435E-3</c:v>
                </c:pt>
                <c:pt idx="15">
                  <c:v>7.2916792862906055E-3</c:v>
                </c:pt>
                <c:pt idx="16">
                  <c:v>6.4211271632174391E-3</c:v>
                </c:pt>
                <c:pt idx="17">
                  <c:v>1.8444063846157937E-3</c:v>
                </c:pt>
                <c:pt idx="18">
                  <c:v>1.4115118493612489E-3</c:v>
                </c:pt>
                <c:pt idx="19">
                  <c:v>7.4098169106467026E-4</c:v>
                </c:pt>
                <c:pt idx="20">
                  <c:v>8.6120809584681781E-4</c:v>
                </c:pt>
                <c:pt idx="21">
                  <c:v>4.9861148123416118E-4</c:v>
                </c:pt>
                <c:pt idx="22">
                  <c:v>2.9807641588952625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45565295707621E-4</c:v>
                </c:pt>
                <c:pt idx="26">
                  <c:v>2.6767640427584815E-4</c:v>
                </c:pt>
                <c:pt idx="27">
                  <c:v>6.4409399305953466E-4</c:v>
                </c:pt>
                <c:pt idx="28">
                  <c:v>9.0123818727872015E-4</c:v>
                </c:pt>
                <c:pt idx="29">
                  <c:v>1.0093815667241268E-3</c:v>
                </c:pt>
                <c:pt idx="30">
                  <c:v>1.3506209872354159E-3</c:v>
                </c:pt>
                <c:pt idx="31">
                  <c:v>2.2796149725668536E-3</c:v>
                </c:pt>
                <c:pt idx="32">
                  <c:v>2.9082730464674278E-3</c:v>
                </c:pt>
                <c:pt idx="33">
                  <c:v>3.4908972523427415E-3</c:v>
                </c:pt>
                <c:pt idx="34">
                  <c:v>3.9793419178703248E-3</c:v>
                </c:pt>
                <c:pt idx="35">
                  <c:v>4.2461728533858467E-3</c:v>
                </c:pt>
                <c:pt idx="36">
                  <c:v>4.6169721455677267E-3</c:v>
                </c:pt>
                <c:pt idx="37">
                  <c:v>3.7127996912164549E-3</c:v>
                </c:pt>
                <c:pt idx="38">
                  <c:v>4.176085410763369E-3</c:v>
                </c:pt>
                <c:pt idx="39">
                  <c:v>3.489320543709215E-3</c:v>
                </c:pt>
                <c:pt idx="40">
                  <c:v>4.2709255740029936E-3</c:v>
                </c:pt>
                <c:pt idx="41">
                  <c:v>6.4678359816184704E-3</c:v>
                </c:pt>
                <c:pt idx="42">
                  <c:v>1.1269064362543536E-2</c:v>
                </c:pt>
                <c:pt idx="43">
                  <c:v>1.191526938212673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K$2:$K$45</c:f>
              <c:numCache>
                <c:formatCode>0.0%</c:formatCode>
                <c:ptCount val="44"/>
                <c:pt idx="0">
                  <c:v>0.52608257560122851</c:v>
                </c:pt>
                <c:pt idx="1">
                  <c:v>0.41250189987978941</c:v>
                </c:pt>
                <c:pt idx="2">
                  <c:v>0.50369860657147769</c:v>
                </c:pt>
                <c:pt idx="3">
                  <c:v>0.46675018422991893</c:v>
                </c:pt>
                <c:pt idx="4">
                  <c:v>0.51831930375231849</c:v>
                </c:pt>
                <c:pt idx="5">
                  <c:v>0.49291899562686436</c:v>
                </c:pt>
                <c:pt idx="6">
                  <c:v>0.53619298995827003</c:v>
                </c:pt>
                <c:pt idx="7">
                  <c:v>0.48659883034801082</c:v>
                </c:pt>
                <c:pt idx="8">
                  <c:v>0.42785176829502775</c:v>
                </c:pt>
                <c:pt idx="9">
                  <c:v>0.39096586063657118</c:v>
                </c:pt>
                <c:pt idx="10">
                  <c:v>0.3484147462704274</c:v>
                </c:pt>
                <c:pt idx="11">
                  <c:v>0.30373660664533281</c:v>
                </c:pt>
                <c:pt idx="12">
                  <c:v>0.2705167727695591</c:v>
                </c:pt>
                <c:pt idx="13">
                  <c:v>0.21305568130375735</c:v>
                </c:pt>
                <c:pt idx="14">
                  <c:v>0.15371063642369523</c:v>
                </c:pt>
                <c:pt idx="15">
                  <c:v>9.8519132804170129E-2</c:v>
                </c:pt>
                <c:pt idx="16">
                  <c:v>7.8997096372770428E-2</c:v>
                </c:pt>
                <c:pt idx="17">
                  <c:v>0.10015339899886969</c:v>
                </c:pt>
                <c:pt idx="18">
                  <c:v>4.4307930041108372E-3</c:v>
                </c:pt>
                <c:pt idx="19">
                  <c:v>3.8954919272416988E-3</c:v>
                </c:pt>
                <c:pt idx="20">
                  <c:v>3.4675485096742386E-3</c:v>
                </c:pt>
                <c:pt idx="21">
                  <c:v>3.1446127126560793E-3</c:v>
                </c:pt>
                <c:pt idx="22">
                  <c:v>2.4742329137179176E-3</c:v>
                </c:pt>
                <c:pt idx="23">
                  <c:v>1.4659615015956426E-3</c:v>
                </c:pt>
                <c:pt idx="24">
                  <c:v>1.3093587171650533E-3</c:v>
                </c:pt>
                <c:pt idx="25">
                  <c:v>1.0630708760543284E-3</c:v>
                </c:pt>
                <c:pt idx="26">
                  <c:v>2.4285447412665793E-3</c:v>
                </c:pt>
                <c:pt idx="27">
                  <c:v>2.2151018431707894E-3</c:v>
                </c:pt>
                <c:pt idx="28">
                  <c:v>3.1765375740442918E-3</c:v>
                </c:pt>
                <c:pt idx="29">
                  <c:v>4.1363613873633166E-3</c:v>
                </c:pt>
                <c:pt idx="30">
                  <c:v>4.4324937503938825E-3</c:v>
                </c:pt>
                <c:pt idx="31">
                  <c:v>5.7172819214907286E-3</c:v>
                </c:pt>
                <c:pt idx="32">
                  <c:v>5.9536372590403824E-3</c:v>
                </c:pt>
                <c:pt idx="33">
                  <c:v>7.2903576553211592E-3</c:v>
                </c:pt>
                <c:pt idx="34">
                  <c:v>1.1202922843224557E-2</c:v>
                </c:pt>
                <c:pt idx="35">
                  <c:v>1.7050535120214604E-2</c:v>
                </c:pt>
                <c:pt idx="36">
                  <c:v>2.8315500796283626E-2</c:v>
                </c:pt>
                <c:pt idx="37">
                  <c:v>2.9616787662079678E-2</c:v>
                </c:pt>
                <c:pt idx="38">
                  <c:v>3.8241939156172827E-2</c:v>
                </c:pt>
                <c:pt idx="39">
                  <c:v>4.5625838940163241E-2</c:v>
                </c:pt>
                <c:pt idx="40">
                  <c:v>5.5014645481173602E-2</c:v>
                </c:pt>
                <c:pt idx="41">
                  <c:v>8.3182198402534629E-2</c:v>
                </c:pt>
                <c:pt idx="42">
                  <c:v>0.11236470121375498</c:v>
                </c:pt>
                <c:pt idx="43">
                  <c:v>0.136278559339115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5</c:f>
              <c:numCache>
                <c:formatCode>0.0%</c:formatCode>
                <c:ptCount val="44"/>
                <c:pt idx="0">
                  <c:v>0.18039078149554519</c:v>
                </c:pt>
                <c:pt idx="1">
                  <c:v>0.16725368732182228</c:v>
                </c:pt>
                <c:pt idx="2">
                  <c:v>0.13811273201546537</c:v>
                </c:pt>
                <c:pt idx="3">
                  <c:v>9.9804957796614135E-2</c:v>
                </c:pt>
                <c:pt idx="4">
                  <c:v>7.0249322752494986E-2</c:v>
                </c:pt>
                <c:pt idx="5">
                  <c:v>5.3150856772529377E-2</c:v>
                </c:pt>
                <c:pt idx="6">
                  <c:v>4.9517147555208002E-2</c:v>
                </c:pt>
                <c:pt idx="7">
                  <c:v>4.5352588040535623E-2</c:v>
                </c:pt>
                <c:pt idx="8">
                  <c:v>4.1994595092202484E-2</c:v>
                </c:pt>
                <c:pt idx="9">
                  <c:v>4.3956959426412333E-2</c:v>
                </c:pt>
                <c:pt idx="10">
                  <c:v>4.9960593400615164E-2</c:v>
                </c:pt>
                <c:pt idx="11">
                  <c:v>5.4767633357514132E-2</c:v>
                </c:pt>
                <c:pt idx="12">
                  <c:v>7.6023968826742852E-2</c:v>
                </c:pt>
                <c:pt idx="13">
                  <c:v>7.0914159460481838E-2</c:v>
                </c:pt>
                <c:pt idx="14">
                  <c:v>6.7218989864624115E-2</c:v>
                </c:pt>
                <c:pt idx="15">
                  <c:v>6.4303048023636941E-2</c:v>
                </c:pt>
                <c:pt idx="16">
                  <c:v>5.6661151366463172E-2</c:v>
                </c:pt>
                <c:pt idx="17">
                  <c:v>4.8954729575431781E-2</c:v>
                </c:pt>
                <c:pt idx="18">
                  <c:v>4.3530029450882302E-2</c:v>
                </c:pt>
                <c:pt idx="19">
                  <c:v>4.3872952921467402E-2</c:v>
                </c:pt>
                <c:pt idx="20">
                  <c:v>4.2980081084843615E-2</c:v>
                </c:pt>
                <c:pt idx="21">
                  <c:v>4.0302223175953222E-2</c:v>
                </c:pt>
                <c:pt idx="22">
                  <c:v>3.6167126025049727E-2</c:v>
                </c:pt>
                <c:pt idx="23">
                  <c:v>3.9268118786499932E-2</c:v>
                </c:pt>
                <c:pt idx="24">
                  <c:v>5.7899760796848526E-2</c:v>
                </c:pt>
                <c:pt idx="25">
                  <c:v>0.10694176510277585</c:v>
                </c:pt>
                <c:pt idx="26">
                  <c:v>0.13777962887239559</c:v>
                </c:pt>
                <c:pt idx="27">
                  <c:v>0.15121972777813697</c:v>
                </c:pt>
                <c:pt idx="28">
                  <c:v>0.1451109383316051</c:v>
                </c:pt>
                <c:pt idx="29">
                  <c:v>0.12293369130889775</c:v>
                </c:pt>
                <c:pt idx="30">
                  <c:v>0.10798403696539534</c:v>
                </c:pt>
                <c:pt idx="31">
                  <c:v>9.2565081584454811E-2</c:v>
                </c:pt>
                <c:pt idx="32">
                  <c:v>8.214631287995898E-2</c:v>
                </c:pt>
                <c:pt idx="33">
                  <c:v>6.2140745381208305E-2</c:v>
                </c:pt>
                <c:pt idx="34">
                  <c:v>4.3026031437030342E-2</c:v>
                </c:pt>
                <c:pt idx="35">
                  <c:v>3.3776619816651365E-2</c:v>
                </c:pt>
                <c:pt idx="36">
                  <c:v>2.673514996063692E-2</c:v>
                </c:pt>
                <c:pt idx="37">
                  <c:v>2.1819754065351561E-2</c:v>
                </c:pt>
                <c:pt idx="38">
                  <c:v>1.723125981369485E-2</c:v>
                </c:pt>
                <c:pt idx="39">
                  <c:v>1.8888795394464662E-2</c:v>
                </c:pt>
                <c:pt idx="40">
                  <c:v>2.1760261399789892E-2</c:v>
                </c:pt>
                <c:pt idx="41">
                  <c:v>2.1568785422548531E-2</c:v>
                </c:pt>
                <c:pt idx="42">
                  <c:v>2.3064707577892397E-2</c:v>
                </c:pt>
                <c:pt idx="43" formatCode="General">
                  <c:v>2.244797961650279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I$2:$I$45</c:f>
              <c:numCache>
                <c:formatCode>General</c:formatCode>
                <c:ptCount val="44"/>
                <c:pt idx="0">
                  <c:v>7.2901225782039223</c:v>
                </c:pt>
                <c:pt idx="1">
                  <c:v>6.3181062344433991</c:v>
                </c:pt>
                <c:pt idx="2">
                  <c:v>6.2052829088283383</c:v>
                </c:pt>
                <c:pt idx="3">
                  <c:v>5.7800257584331094</c:v>
                </c:pt>
                <c:pt idx="4">
                  <c:v>5.094407087387741</c:v>
                </c:pt>
                <c:pt idx="5">
                  <c:v>4.9729050444176757</c:v>
                </c:pt>
                <c:pt idx="6">
                  <c:v>4.2438927865972831</c:v>
                </c:pt>
                <c:pt idx="7">
                  <c:v>3.2979125949017747</c:v>
                </c:pt>
                <c:pt idx="8">
                  <c:v>2.9594426180565918</c:v>
                </c:pt>
                <c:pt idx="9">
                  <c:v>2.9681213354115967</c:v>
                </c:pt>
                <c:pt idx="10">
                  <c:v>3.0288723568966294</c:v>
                </c:pt>
                <c:pt idx="11">
                  <c:v>3.176410551931709</c:v>
                </c:pt>
                <c:pt idx="12">
                  <c:v>3.8533505056220734</c:v>
                </c:pt>
                <c:pt idx="13">
                  <c:v>4.7038648064125308</c:v>
                </c:pt>
                <c:pt idx="14">
                  <c:v>4.7559371105425585</c:v>
                </c:pt>
                <c:pt idx="15">
                  <c:v>4.6431137849274977</c:v>
                </c:pt>
                <c:pt idx="16">
                  <c:v>4.5736840460874602</c:v>
                </c:pt>
                <c:pt idx="17">
                  <c:v>4.4174671336973761</c:v>
                </c:pt>
                <c:pt idx="18">
                  <c:v>3.4280933552268444</c:v>
                </c:pt>
                <c:pt idx="19">
                  <c:v>2.334574968496256</c:v>
                </c:pt>
                <c:pt idx="20">
                  <c:v>1.9700688395860599</c:v>
                </c:pt>
                <c:pt idx="21">
                  <c:v>1.5795265586108498</c:v>
                </c:pt>
                <c:pt idx="22">
                  <c:v>1.1629481255706258</c:v>
                </c:pt>
                <c:pt idx="23">
                  <c:v>0.78976327930542489</c:v>
                </c:pt>
                <c:pt idx="24">
                  <c:v>0.5554379107202988</c:v>
                </c:pt>
                <c:pt idx="25">
                  <c:v>0.37318484626520076</c:v>
                </c:pt>
                <c:pt idx="26">
                  <c:v>0.26036152065014007</c:v>
                </c:pt>
                <c:pt idx="27">
                  <c:v>0.14753819503507937</c:v>
                </c:pt>
                <c:pt idx="28">
                  <c:v>0.15621691239008403</c:v>
                </c:pt>
                <c:pt idx="29">
                  <c:v>0.2777189553601494</c:v>
                </c:pt>
                <c:pt idx="30">
                  <c:v>0.3818635636202054</c:v>
                </c:pt>
                <c:pt idx="31">
                  <c:v>0.3905422809752101</c:v>
                </c:pt>
                <c:pt idx="32">
                  <c:v>0.5467591933652941</c:v>
                </c:pt>
                <c:pt idx="33">
                  <c:v>0.63354636691534083</c:v>
                </c:pt>
                <c:pt idx="34">
                  <c:v>0.62486764956033614</c:v>
                </c:pt>
                <c:pt idx="35">
                  <c:v>0.76372712724041081</c:v>
                </c:pt>
                <c:pt idx="36">
                  <c:v>0.75504840988540622</c:v>
                </c:pt>
                <c:pt idx="37">
                  <c:v>0.80712071401543428</c:v>
                </c:pt>
                <c:pt idx="38">
                  <c:v>0.95465890905051365</c:v>
                </c:pt>
                <c:pt idx="39">
                  <c:v>1.0240886478905511</c:v>
                </c:pt>
                <c:pt idx="40">
                  <c:v>1.3278437553157143</c:v>
                </c:pt>
                <c:pt idx="41">
                  <c:v>1.7270647536459289</c:v>
                </c:pt>
                <c:pt idx="42">
                  <c:v>2.2217516428811952</c:v>
                </c:pt>
                <c:pt idx="43">
                  <c:v>2.5081493155963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C$2:$C$45</c:f>
              <c:numCache>
                <c:formatCode>General</c:formatCode>
                <c:ptCount val="44"/>
                <c:pt idx="0">
                  <c:v>20.665911784235913</c:v>
                </c:pt>
                <c:pt idx="1">
                  <c:v>22.367810401761222</c:v>
                </c:pt>
                <c:pt idx="2">
                  <c:v>20.619156327710492</c:v>
                </c:pt>
                <c:pt idx="3">
                  <c:v>18.861151162354677</c:v>
                </c:pt>
                <c:pt idx="4">
                  <c:v>17.729669114439496</c:v>
                </c:pt>
                <c:pt idx="5">
                  <c:v>17.449136375286972</c:v>
                </c:pt>
                <c:pt idx="6">
                  <c:v>19.048172988456358</c:v>
                </c:pt>
                <c:pt idx="7">
                  <c:v>21.479456727778231</c:v>
                </c:pt>
                <c:pt idx="8">
                  <c:v>24.509210310625484</c:v>
                </c:pt>
                <c:pt idx="9">
                  <c:v>27.679230263049003</c:v>
                </c:pt>
                <c:pt idx="10">
                  <c:v>27.735336810879506</c:v>
                </c:pt>
                <c:pt idx="11">
                  <c:v>24.527912493235654</c:v>
                </c:pt>
                <c:pt idx="12">
                  <c:v>20.899689066863015</c:v>
                </c:pt>
                <c:pt idx="13">
                  <c:v>17.056390540473441</c:v>
                </c:pt>
                <c:pt idx="14">
                  <c:v>12.717484174914407</c:v>
                </c:pt>
                <c:pt idx="15">
                  <c:v>9.2482293007281964</c:v>
                </c:pt>
                <c:pt idx="16">
                  <c:v>7.0507228440334284</c:v>
                </c:pt>
                <c:pt idx="17">
                  <c:v>5.5171438699996322</c:v>
                </c:pt>
                <c:pt idx="18">
                  <c:v>3.9555116220505839</c:v>
                </c:pt>
                <c:pt idx="19">
                  <c:v>2.5528479262879653</c:v>
                </c:pt>
                <c:pt idx="20">
                  <c:v>1.5242278827287119</c:v>
                </c:pt>
                <c:pt idx="21">
                  <c:v>0.87900258267790754</c:v>
                </c:pt>
                <c:pt idx="22">
                  <c:v>0.5984698435253839</c:v>
                </c:pt>
                <c:pt idx="23">
                  <c:v>0.37404365220336494</c:v>
                </c:pt>
                <c:pt idx="24">
                  <c:v>0.22442619132201896</c:v>
                </c:pt>
                <c:pt idx="25">
                  <c:v>0.16831964349151421</c:v>
                </c:pt>
                <c:pt idx="26">
                  <c:v>9.351091305084123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3091527827117772</c:v>
                </c:pt>
                <c:pt idx="33">
                  <c:v>0.1589685521864300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3873621310164572</c:v>
                </c:pt>
                <c:pt idx="41">
                  <c:v>1.299801691406693</c:v>
                </c:pt>
                <c:pt idx="42">
                  <c:v>2.3190706436608628</c:v>
                </c:pt>
                <c:pt idx="43">
                  <c:v>4.226693269898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D$2:$D$45</c:f>
              <c:numCache>
                <c:formatCode>General</c:formatCode>
                <c:ptCount val="44"/>
                <c:pt idx="0">
                  <c:v>9.444414141511369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41510942270298</c:v>
                </c:pt>
                <c:pt idx="7">
                  <c:v>7.0008688029164974</c:v>
                </c:pt>
                <c:pt idx="8">
                  <c:v>6.3160819329516107</c:v>
                </c:pt>
                <c:pt idx="9">
                  <c:v>5.8867903810647313</c:v>
                </c:pt>
                <c:pt idx="10">
                  <c:v>5.5273144102805611</c:v>
                </c:pt>
                <c:pt idx="11">
                  <c:v>5.4990910902603165</c:v>
                </c:pt>
                <c:pt idx="12">
                  <c:v>5.7397320293802983</c:v>
                </c:pt>
                <c:pt idx="13">
                  <c:v>6.1497128886217478</c:v>
                </c:pt>
                <c:pt idx="14">
                  <c:v>6.1408002612469339</c:v>
                </c:pt>
                <c:pt idx="15">
                  <c:v>6.0650429285610139</c:v>
                </c:pt>
                <c:pt idx="16">
                  <c:v>6.0709846801442229</c:v>
                </c:pt>
                <c:pt idx="17">
                  <c:v>5.2658773406193466</c:v>
                </c:pt>
                <c:pt idx="18">
                  <c:v>4.1235755987473359</c:v>
                </c:pt>
                <c:pt idx="19">
                  <c:v>3.251623553911354</c:v>
                </c:pt>
                <c:pt idx="20">
                  <c:v>2.6128852587163416</c:v>
                </c:pt>
                <c:pt idx="21">
                  <c:v>2.0662441130610754</c:v>
                </c:pt>
                <c:pt idx="22">
                  <c:v>1.4572145757821098</c:v>
                </c:pt>
                <c:pt idx="23">
                  <c:v>1.0561463439154741</c:v>
                </c:pt>
                <c:pt idx="24">
                  <c:v>0.84818503850314442</c:v>
                </c:pt>
                <c:pt idx="25">
                  <c:v>0.66250530152785003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364104238762399</c:v>
                </c:pt>
                <c:pt idx="29">
                  <c:v>0.64170917098661717</c:v>
                </c:pt>
                <c:pt idx="30">
                  <c:v>0.95216569120930927</c:v>
                </c:pt>
                <c:pt idx="31">
                  <c:v>1.2121173229747213</c:v>
                </c:pt>
                <c:pt idx="32">
                  <c:v>1.8983896308354089</c:v>
                </c:pt>
                <c:pt idx="33">
                  <c:v>2.3024287384936493</c:v>
                </c:pt>
                <c:pt idx="34">
                  <c:v>2.1137781257267507</c:v>
                </c:pt>
                <c:pt idx="35">
                  <c:v>1.926612950855654</c:v>
                </c:pt>
                <c:pt idx="36">
                  <c:v>1.6339816853825899</c:v>
                </c:pt>
                <c:pt idx="37">
                  <c:v>1.332437792534712</c:v>
                </c:pt>
                <c:pt idx="38">
                  <c:v>1.0828842260399165</c:v>
                </c:pt>
                <c:pt idx="39">
                  <c:v>0.84669960060734206</c:v>
                </c:pt>
                <c:pt idx="40">
                  <c:v>0.6803305562774784</c:v>
                </c:pt>
                <c:pt idx="41">
                  <c:v>0.61348585096637243</c:v>
                </c:pt>
                <c:pt idx="42">
                  <c:v>0.61200041307057007</c:v>
                </c:pt>
                <c:pt idx="43">
                  <c:v>0.65804898784044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F$2:$F$45</c:f>
              <c:numCache>
                <c:formatCode>General</c:formatCode>
                <c:ptCount val="44"/>
                <c:pt idx="0">
                  <c:v>10.990671460108441</c:v>
                </c:pt>
                <c:pt idx="1">
                  <c:v>11.027558534421543</c:v>
                </c:pt>
                <c:pt idx="2">
                  <c:v>10.735815310308825</c:v>
                </c:pt>
                <c:pt idx="3">
                  <c:v>10.004780564830979</c:v>
                </c:pt>
                <c:pt idx="4">
                  <c:v>9.0557767438666179</c:v>
                </c:pt>
                <c:pt idx="5">
                  <c:v>7.8653302546710444</c:v>
                </c:pt>
                <c:pt idx="6">
                  <c:v>7.0437545086064928</c:v>
                </c:pt>
                <c:pt idx="7">
                  <c:v>6.896206211354083</c:v>
                </c:pt>
                <c:pt idx="8">
                  <c:v>7.1778893242905006</c:v>
                </c:pt>
                <c:pt idx="9">
                  <c:v>7.9173074957485978</c:v>
                </c:pt>
                <c:pt idx="10">
                  <c:v>8.8864315390655584</c:v>
                </c:pt>
                <c:pt idx="11">
                  <c:v>9.7214207666985093</c:v>
                </c:pt>
                <c:pt idx="12">
                  <c:v>10.128855269338686</c:v>
                </c:pt>
                <c:pt idx="13">
                  <c:v>10.04837437992828</c:v>
                </c:pt>
                <c:pt idx="14">
                  <c:v>8.9870326508285636</c:v>
                </c:pt>
                <c:pt idx="15">
                  <c:v>7.7295187537909857</c:v>
                </c:pt>
                <c:pt idx="16">
                  <c:v>6.6061396724374157</c:v>
                </c:pt>
                <c:pt idx="17">
                  <c:v>5.3720993681445375</c:v>
                </c:pt>
                <c:pt idx="18">
                  <c:v>4.3057275834566706</c:v>
                </c:pt>
                <c:pt idx="19">
                  <c:v>3.2494159099451041</c:v>
                </c:pt>
                <c:pt idx="20">
                  <c:v>2.3071188297649448</c:v>
                </c:pt>
                <c:pt idx="21">
                  <c:v>1.6347680661488524</c:v>
                </c:pt>
                <c:pt idx="22">
                  <c:v>1.1636195260587729</c:v>
                </c:pt>
                <c:pt idx="23">
                  <c:v>0.83498922763295247</c:v>
                </c:pt>
                <c:pt idx="24">
                  <c:v>0.58516313342148674</c:v>
                </c:pt>
                <c:pt idx="25">
                  <c:v>0.40911118783622569</c:v>
                </c:pt>
                <c:pt idx="26">
                  <c:v>0.3118634464653196</c:v>
                </c:pt>
                <c:pt idx="27">
                  <c:v>0.24311935342726523</c:v>
                </c:pt>
                <c:pt idx="28">
                  <c:v>0.22970587185886443</c:v>
                </c:pt>
                <c:pt idx="29">
                  <c:v>0.27497637215221726</c:v>
                </c:pt>
                <c:pt idx="30">
                  <c:v>0.39737439146387499</c:v>
                </c:pt>
                <c:pt idx="31">
                  <c:v>0.63546368930298991</c:v>
                </c:pt>
                <c:pt idx="32">
                  <c:v>0.91044006145520717</c:v>
                </c:pt>
                <c:pt idx="33">
                  <c:v>1.1233790813535705</c:v>
                </c:pt>
                <c:pt idx="34">
                  <c:v>1.2675740082138796</c:v>
                </c:pt>
                <c:pt idx="35">
                  <c:v>1.3178745640953826</c:v>
                </c:pt>
                <c:pt idx="36">
                  <c:v>1.2692506934099297</c:v>
                </c:pt>
                <c:pt idx="37">
                  <c:v>1.1787096928232239</c:v>
                </c:pt>
                <c:pt idx="38">
                  <c:v>1.034514765962915</c:v>
                </c:pt>
                <c:pt idx="39">
                  <c:v>0.85175607959345345</c:v>
                </c:pt>
                <c:pt idx="40">
                  <c:v>0.73606480106599625</c:v>
                </c:pt>
                <c:pt idx="41">
                  <c:v>0.73103474547784586</c:v>
                </c:pt>
                <c:pt idx="42">
                  <c:v>0.78468867175144918</c:v>
                </c:pt>
                <c:pt idx="43">
                  <c:v>0.71762126390944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K$2:$K$45</c:f>
              <c:numCache>
                <c:formatCode>General</c:formatCode>
                <c:ptCount val="44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1495413390578008</c:v>
                </c:pt>
                <c:pt idx="35">
                  <c:v>0.4503800900883011</c:v>
                </c:pt>
                <c:pt idx="36">
                  <c:v>0.69604195740919261</c:v>
                </c:pt>
                <c:pt idx="37">
                  <c:v>0.82910880220800887</c:v>
                </c:pt>
                <c:pt idx="38">
                  <c:v>1.1464220474974938</c:v>
                </c:pt>
                <c:pt idx="39">
                  <c:v>1.3409043591265328</c:v>
                </c:pt>
                <c:pt idx="40">
                  <c:v>1.8015203603532044</c:v>
                </c:pt>
                <c:pt idx="41">
                  <c:v>3.1014810749262551</c:v>
                </c:pt>
                <c:pt idx="42">
                  <c:v>5.425032903336354</c:v>
                </c:pt>
                <c:pt idx="43">
                  <c:v>8.8847708681055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E$2:$E$45</c:f>
              <c:numCache>
                <c:formatCode>General</c:formatCode>
                <c:ptCount val="44"/>
                <c:pt idx="0">
                  <c:v>13.756706093619599</c:v>
                </c:pt>
                <c:pt idx="1">
                  <c:v>12.834462096258681</c:v>
                </c:pt>
                <c:pt idx="2">
                  <c:v>11.985564753185924</c:v>
                </c:pt>
                <c:pt idx="3">
                  <c:v>10.819232709587373</c:v>
                </c:pt>
                <c:pt idx="4">
                  <c:v>9.0565081983343081</c:v>
                </c:pt>
                <c:pt idx="5">
                  <c:v>7.326248599635016</c:v>
                </c:pt>
                <c:pt idx="6">
                  <c:v>5.7402775011747185</c:v>
                </c:pt>
                <c:pt idx="7">
                  <c:v>4.5450877575283695</c:v>
                </c:pt>
                <c:pt idx="8">
                  <c:v>3.7130240728168267</c:v>
                </c:pt>
                <c:pt idx="9">
                  <c:v>3.1454893052101101</c:v>
                </c:pt>
                <c:pt idx="10">
                  <c:v>2.8424834547082183</c:v>
                </c:pt>
                <c:pt idx="11">
                  <c:v>2.8088161379857861</c:v>
                </c:pt>
                <c:pt idx="12">
                  <c:v>3.1166316051623104</c:v>
                </c:pt>
                <c:pt idx="13">
                  <c:v>3.5001985349643077</c:v>
                </c:pt>
                <c:pt idx="14">
                  <c:v>3.6721423310824446</c:v>
                </c:pt>
                <c:pt idx="15">
                  <c:v>3.7515010062138923</c:v>
                </c:pt>
                <c:pt idx="16">
                  <c:v>3.8356692980199738</c:v>
                </c:pt>
                <c:pt idx="17">
                  <c:v>3.624046164336113</c:v>
                </c:pt>
                <c:pt idx="18">
                  <c:v>3.0889763092831695</c:v>
                </c:pt>
                <c:pt idx="19">
                  <c:v>2.4925838416286532</c:v>
                </c:pt>
                <c:pt idx="20">
                  <c:v>1.9430851365518109</c:v>
                </c:pt>
                <c:pt idx="21">
                  <c:v>1.3995984523182599</c:v>
                </c:pt>
                <c:pt idx="22">
                  <c:v>0.92224399736091534</c:v>
                </c:pt>
                <c:pt idx="23">
                  <c:v>0.63126218854560689</c:v>
                </c:pt>
                <c:pt idx="24">
                  <c:v>0.44609194657222884</c:v>
                </c:pt>
                <c:pt idx="25">
                  <c:v>0.27775536296006703</c:v>
                </c:pt>
                <c:pt idx="26">
                  <c:v>0.18517024197337803</c:v>
                </c:pt>
                <c:pt idx="27">
                  <c:v>0.14068128773302097</c:v>
                </c:pt>
                <c:pt idx="28">
                  <c:v>0.13947888356436267</c:v>
                </c:pt>
                <c:pt idx="29">
                  <c:v>0.12745484187777967</c:v>
                </c:pt>
                <c:pt idx="30">
                  <c:v>0.12505003354046307</c:v>
                </c:pt>
                <c:pt idx="31">
                  <c:v>0.15511013775692056</c:v>
                </c:pt>
                <c:pt idx="32">
                  <c:v>0.23927842956300147</c:v>
                </c:pt>
                <c:pt idx="33">
                  <c:v>0.34508999640493176</c:v>
                </c:pt>
                <c:pt idx="34">
                  <c:v>0.51102177167977703</c:v>
                </c:pt>
                <c:pt idx="35">
                  <c:v>0.70220403449644653</c:v>
                </c:pt>
                <c:pt idx="36">
                  <c:v>0.8825646597951915</c:v>
                </c:pt>
                <c:pt idx="37">
                  <c:v>0.97635218495053866</c:v>
                </c:pt>
                <c:pt idx="38">
                  <c:v>0.91743438068628202</c:v>
                </c:pt>
                <c:pt idx="39">
                  <c:v>0.89098148897579943</c:v>
                </c:pt>
                <c:pt idx="40">
                  <c:v>0.92104159319225687</c:v>
                </c:pt>
                <c:pt idx="41">
                  <c:v>1.0617228809252779</c:v>
                </c:pt>
                <c:pt idx="42">
                  <c:v>1.3490974772346112</c:v>
                </c:pt>
                <c:pt idx="43">
                  <c:v>1.4260513440287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G$2:$G$45</c:f>
              <c:numCache>
                <c:formatCode>General</c:formatCode>
                <c:ptCount val="44"/>
                <c:pt idx="0">
                  <c:v>7.5082212725085071</c:v>
                </c:pt>
                <c:pt idx="1">
                  <c:v>6.9280144258953786</c:v>
                </c:pt>
                <c:pt idx="2">
                  <c:v>6.255893623383141</c:v>
                </c:pt>
                <c:pt idx="3">
                  <c:v>5.5435604651650419</c:v>
                </c:pt>
                <c:pt idx="4">
                  <c:v>4.8139934402158602</c:v>
                </c:pt>
                <c:pt idx="5">
                  <c:v>4.5956977949554751</c:v>
                </c:pt>
                <c:pt idx="6">
                  <c:v>4.6129316616865577</c:v>
                </c:pt>
                <c:pt idx="7">
                  <c:v>3.9005985034684594</c:v>
                </c:pt>
                <c:pt idx="8">
                  <c:v>2.9699696999899756</c:v>
                </c:pt>
                <c:pt idx="9">
                  <c:v>2.487421431519651</c:v>
                </c:pt>
                <c:pt idx="10">
                  <c:v>2.0738086299736578</c:v>
                </c:pt>
                <c:pt idx="11">
                  <c:v>1.8497683624695784</c:v>
                </c:pt>
                <c:pt idx="12">
                  <c:v>1.7348759175956918</c:v>
                </c:pt>
                <c:pt idx="13">
                  <c:v>1.6659404506713598</c:v>
                </c:pt>
                <c:pt idx="14">
                  <c:v>1.6487065839402768</c:v>
                </c:pt>
                <c:pt idx="15">
                  <c:v>1.6659404506713598</c:v>
                </c:pt>
                <c:pt idx="16">
                  <c:v>1.5970049837470275</c:v>
                </c:pt>
                <c:pt idx="17">
                  <c:v>1.5797711170159445</c:v>
                </c:pt>
                <c:pt idx="18">
                  <c:v>1.3097738715623102</c:v>
                </c:pt>
                <c:pt idx="19">
                  <c:v>1.0282873816212874</c:v>
                </c:pt>
                <c:pt idx="20">
                  <c:v>0.7870132473861251</c:v>
                </c:pt>
                <c:pt idx="21">
                  <c:v>0.6319084468063777</c:v>
                </c:pt>
                <c:pt idx="22">
                  <c:v>0.46531440173924177</c:v>
                </c:pt>
                <c:pt idx="23">
                  <c:v>0.1953171562856077</c:v>
                </c:pt>
                <c:pt idx="24">
                  <c:v>0.12063706711758121</c:v>
                </c:pt>
                <c:pt idx="25">
                  <c:v>9.1913955899109501E-2</c:v>
                </c:pt>
                <c:pt idx="26">
                  <c:v>0.1034032003864982</c:v>
                </c:pt>
                <c:pt idx="27">
                  <c:v>0.14936017833605295</c:v>
                </c:pt>
                <c:pt idx="28">
                  <c:v>0.24701875647885677</c:v>
                </c:pt>
                <c:pt idx="29">
                  <c:v>0.35042195686535493</c:v>
                </c:pt>
                <c:pt idx="30">
                  <c:v>0.47680364622663046</c:v>
                </c:pt>
                <c:pt idx="31">
                  <c:v>0.53424986866357393</c:v>
                </c:pt>
                <c:pt idx="32">
                  <c:v>0.45956977949554745</c:v>
                </c:pt>
                <c:pt idx="33">
                  <c:v>0.49403751295771353</c:v>
                </c:pt>
                <c:pt idx="34">
                  <c:v>0.51127137968879655</c:v>
                </c:pt>
                <c:pt idx="35">
                  <c:v>0.44808053500815886</c:v>
                </c:pt>
                <c:pt idx="36">
                  <c:v>0.46531440173924177</c:v>
                </c:pt>
                <c:pt idx="37">
                  <c:v>0.367655823596438</c:v>
                </c:pt>
                <c:pt idx="38">
                  <c:v>0.29297573442841152</c:v>
                </c:pt>
                <c:pt idx="39">
                  <c:v>0.29872035667210589</c:v>
                </c:pt>
                <c:pt idx="40">
                  <c:v>0.39063431257121539</c:v>
                </c:pt>
                <c:pt idx="41">
                  <c:v>0.72382240270548726</c:v>
                </c:pt>
                <c:pt idx="42">
                  <c:v>1.2178599156632008</c:v>
                </c:pt>
                <c:pt idx="43">
                  <c:v>1.4419001831672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J$2:$J$45</c:f>
              <c:numCache>
                <c:formatCode>General</c:formatCode>
                <c:ptCount val="44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2981999275095</c:v>
                </c:pt>
                <c:pt idx="16">
                  <c:v>15.949149033601175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2129641870209754</c:v>
                </c:pt>
                <c:pt idx="36">
                  <c:v>0.28715844807772184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9034435250749135</c:v>
                </c:pt>
                <c:pt idx="40">
                  <c:v>1.1170200182105876</c:v>
                </c:pt>
                <c:pt idx="41">
                  <c:v>1.5385370062145829</c:v>
                </c:pt>
                <c:pt idx="42">
                  <c:v>2.357860651647349</c:v>
                </c:pt>
                <c:pt idx="43">
                  <c:v>3.4985910004331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B$2:$B$45</c:f>
              <c:numCache>
                <c:formatCode>General</c:formatCode>
                <c:ptCount val="44"/>
                <c:pt idx="0">
                  <c:v>8.3360820683909242</c:v>
                </c:pt>
                <c:pt idx="1">
                  <c:v>7.8754629783585433</c:v>
                </c:pt>
                <c:pt idx="2">
                  <c:v>7.3474362166141036</c:v>
                </c:pt>
                <c:pt idx="3">
                  <c:v>6.5722479919254599</c:v>
                </c:pt>
                <c:pt idx="4">
                  <c:v>5.6734790357647134</c:v>
                </c:pt>
                <c:pt idx="5">
                  <c:v>4.505079392755742</c:v>
                </c:pt>
                <c:pt idx="6">
                  <c:v>3.752360391971116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197680636831732</c:v>
                </c:pt>
                <c:pt idx="11">
                  <c:v>4.0332256907713511</c:v>
                </c:pt>
                <c:pt idx="12">
                  <c:v>4.392733273235649</c:v>
                </c:pt>
                <c:pt idx="13">
                  <c:v>4.7185370198439198</c:v>
                </c:pt>
                <c:pt idx="14">
                  <c:v>4.5500178405637799</c:v>
                </c:pt>
                <c:pt idx="15">
                  <c:v>3.9995218549153226</c:v>
                </c:pt>
                <c:pt idx="16">
                  <c:v>3.5389027648829394</c:v>
                </c:pt>
                <c:pt idx="17">
                  <c:v>3.0108760031385011</c:v>
                </c:pt>
                <c:pt idx="18">
                  <c:v>2.1682801067378015</c:v>
                </c:pt>
                <c:pt idx="19">
                  <c:v>1.5391418374252785</c:v>
                </c:pt>
                <c:pt idx="20">
                  <c:v>1.1234611952009332</c:v>
                </c:pt>
                <c:pt idx="21">
                  <c:v>0.85383050835270924</c:v>
                </c:pt>
                <c:pt idx="22">
                  <c:v>0.59543443345649461</c:v>
                </c:pt>
                <c:pt idx="23">
                  <c:v>0.41568064222434531</c:v>
                </c:pt>
                <c:pt idx="24">
                  <c:v>0.29209991075224268</c:v>
                </c:pt>
                <c:pt idx="25">
                  <c:v>0.23592685099219599</c:v>
                </c:pt>
                <c:pt idx="26">
                  <c:v>0.134815343424112</c:v>
                </c:pt>
                <c:pt idx="27">
                  <c:v>6.7407671712056E-2</c:v>
                </c:pt>
                <c:pt idx="28">
                  <c:v>8.9876895616074662E-2</c:v>
                </c:pt>
                <c:pt idx="29">
                  <c:v>8.9876895616074662E-2</c:v>
                </c:pt>
                <c:pt idx="30">
                  <c:v>0.12358073147210266</c:v>
                </c:pt>
                <c:pt idx="31">
                  <c:v>0.16851917928013999</c:v>
                </c:pt>
                <c:pt idx="32">
                  <c:v>0.16851917928013999</c:v>
                </c:pt>
                <c:pt idx="33">
                  <c:v>0.37074219441630801</c:v>
                </c:pt>
                <c:pt idx="34">
                  <c:v>0.70778055297658804</c:v>
                </c:pt>
                <c:pt idx="35">
                  <c:v>0.84259589640069998</c:v>
                </c:pt>
                <c:pt idx="36">
                  <c:v>1.112226583248924</c:v>
                </c:pt>
                <c:pt idx="37">
                  <c:v>1.4380303298571946</c:v>
                </c:pt>
                <c:pt idx="38">
                  <c:v>1.3818572700971479</c:v>
                </c:pt>
                <c:pt idx="39">
                  <c:v>1.2807457625290639</c:v>
                </c:pt>
                <c:pt idx="40">
                  <c:v>1.5054380015692506</c:v>
                </c:pt>
                <c:pt idx="41">
                  <c:v>1.6290187330413533</c:v>
                </c:pt>
                <c:pt idx="42">
                  <c:v>1.6964264047534094</c:v>
                </c:pt>
                <c:pt idx="43">
                  <c:v>2.123341658929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L$2:$L$45</c:f>
              <c:numCache>
                <c:formatCode>General</c:formatCode>
                <c:ptCount val="44"/>
                <c:pt idx="0">
                  <c:v>21.730076899920537</c:v>
                </c:pt>
                <c:pt idx="1">
                  <c:v>22.298063732886419</c:v>
                </c:pt>
                <c:pt idx="2">
                  <c:v>22.572896071418299</c:v>
                </c:pt>
                <c:pt idx="3">
                  <c:v>23.012627813069304</c:v>
                </c:pt>
                <c:pt idx="4">
                  <c:v>23.562292490133061</c:v>
                </c:pt>
                <c:pt idx="5">
                  <c:v>24.405111661630823</c:v>
                </c:pt>
                <c:pt idx="6">
                  <c:v>24.8998098709882</c:v>
                </c:pt>
                <c:pt idx="7">
                  <c:v>24.551688908847822</c:v>
                </c:pt>
                <c:pt idx="8">
                  <c:v>24.166923634903196</c:v>
                </c:pt>
                <c:pt idx="9">
                  <c:v>23.653903269643685</c:v>
                </c:pt>
                <c:pt idx="10">
                  <c:v>20.978868507933402</c:v>
                </c:pt>
                <c:pt idx="11">
                  <c:v>18.083967875397615</c:v>
                </c:pt>
                <c:pt idx="12">
                  <c:v>16.105175037968085</c:v>
                </c:pt>
                <c:pt idx="13">
                  <c:v>12.862153443291918</c:v>
                </c:pt>
                <c:pt idx="14">
                  <c:v>10.55356179962414</c:v>
                </c:pt>
                <c:pt idx="15">
                  <c:v>9.1610779510626212</c:v>
                </c:pt>
                <c:pt idx="16">
                  <c:v>7.2738958931437203</c:v>
                </c:pt>
                <c:pt idx="17">
                  <c:v>4.9836264053780663</c:v>
                </c:pt>
                <c:pt idx="18">
                  <c:v>3.6094647127186725</c:v>
                </c:pt>
                <c:pt idx="19">
                  <c:v>2.784967697123037</c:v>
                </c:pt>
                <c:pt idx="20">
                  <c:v>1.8322155902125243</c:v>
                </c:pt>
                <c:pt idx="21">
                  <c:v>1.4840946280721448</c:v>
                </c:pt>
                <c:pt idx="22">
                  <c:v>0.93442995100838733</c:v>
                </c:pt>
                <c:pt idx="23">
                  <c:v>0.54966467706375732</c:v>
                </c:pt>
                <c:pt idx="24">
                  <c:v>0.43973174165100576</c:v>
                </c:pt>
                <c:pt idx="25">
                  <c:v>0.38476527394463012</c:v>
                </c:pt>
                <c:pt idx="26">
                  <c:v>0.16489940311912718</c:v>
                </c:pt>
                <c:pt idx="27">
                  <c:v>1.8322155902125242E-2</c:v>
                </c:pt>
                <c:pt idx="28">
                  <c:v>3.6644311804250485E-2</c:v>
                </c:pt>
                <c:pt idx="29">
                  <c:v>9.1610779510626211E-2</c:v>
                </c:pt>
                <c:pt idx="30">
                  <c:v>9.1610779510626211E-2</c:v>
                </c:pt>
                <c:pt idx="31">
                  <c:v>3.6644311804250485E-2</c:v>
                </c:pt>
                <c:pt idx="32">
                  <c:v>3.6644311804250485E-2</c:v>
                </c:pt>
                <c:pt idx="33">
                  <c:v>7.3288623608500969E-2</c:v>
                </c:pt>
                <c:pt idx="34">
                  <c:v>0.10993293541275144</c:v>
                </c:pt>
                <c:pt idx="35">
                  <c:v>0.4763760534552563</c:v>
                </c:pt>
                <c:pt idx="36">
                  <c:v>0.98939641871476303</c:v>
                </c:pt>
                <c:pt idx="37">
                  <c:v>1.6123497193870213</c:v>
                </c:pt>
                <c:pt idx="38">
                  <c:v>2.4002024231784067</c:v>
                </c:pt>
                <c:pt idx="39">
                  <c:v>2.6567126058081603</c:v>
                </c:pt>
                <c:pt idx="40">
                  <c:v>2.894900632535788</c:v>
                </c:pt>
                <c:pt idx="41">
                  <c:v>2.4551688908847824</c:v>
                </c:pt>
                <c:pt idx="42">
                  <c:v>1.8322155902125243</c:v>
                </c:pt>
                <c:pt idx="43">
                  <c:v>2.2536251759614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5</c:f>
              <c:numCache>
                <c:formatCode>General</c:formatCode>
                <c:ptCount val="44"/>
                <c:pt idx="0">
                  <c:v>6.0655851375544145</c:v>
                </c:pt>
                <c:pt idx="1">
                  <c:v>8.188856841922993</c:v>
                </c:pt>
                <c:pt idx="2">
                  <c:v>11.993844244478025</c:v>
                </c:pt>
                <c:pt idx="3">
                  <c:v>15.139666700005202</c:v>
                </c:pt>
                <c:pt idx="4">
                  <c:v>14.856563806089392</c:v>
                </c:pt>
                <c:pt idx="5">
                  <c:v>11.991731536314475</c:v>
                </c:pt>
                <c:pt idx="6">
                  <c:v>8.6853432603574365</c:v>
                </c:pt>
                <c:pt idx="7">
                  <c:v>6.3085465763627591</c:v>
                </c:pt>
                <c:pt idx="8">
                  <c:v>4.7050010802276843</c:v>
                </c:pt>
                <c:pt idx="9">
                  <c:v>3.4373761820971898</c:v>
                </c:pt>
                <c:pt idx="10">
                  <c:v>2.7169426983263589</c:v>
                </c:pt>
                <c:pt idx="11">
                  <c:v>2.288062941125542</c:v>
                </c:pt>
                <c:pt idx="12">
                  <c:v>2.1782021166208989</c:v>
                </c:pt>
                <c:pt idx="13">
                  <c:v>2.2796121084713388</c:v>
                </c:pt>
                <c:pt idx="14">
                  <c:v>2.3451060615414141</c:v>
                </c:pt>
                <c:pt idx="15">
                  <c:v>2.2627104431629319</c:v>
                </c:pt>
                <c:pt idx="16">
                  <c:v>1.9922837982284267</c:v>
                </c:pt>
                <c:pt idx="17">
                  <c:v>1.8317179777985642</c:v>
                </c:pt>
                <c:pt idx="18">
                  <c:v>1.6415742430789899</c:v>
                </c:pt>
                <c:pt idx="19">
                  <c:v>1.2633994818033925</c:v>
                </c:pt>
                <c:pt idx="20">
                  <c:v>0.93381700828946401</c:v>
                </c:pt>
                <c:pt idx="21">
                  <c:v>0.82184347562127025</c:v>
                </c:pt>
                <c:pt idx="22">
                  <c:v>0.72677160826148324</c:v>
                </c:pt>
                <c:pt idx="23">
                  <c:v>0.53874058170546002</c:v>
                </c:pt>
                <c:pt idx="24">
                  <c:v>0.48592287761668945</c:v>
                </c:pt>
                <c:pt idx="25">
                  <c:v>0.41831621638306304</c:v>
                </c:pt>
                <c:pt idx="26">
                  <c:v>0.35493497147653835</c:v>
                </c:pt>
                <c:pt idx="27">
                  <c:v>0.49437371027089266</c:v>
                </c:pt>
                <c:pt idx="28">
                  <c:v>1.0352270001399035</c:v>
                </c:pt>
                <c:pt idx="29">
                  <c:v>1.77044944105559</c:v>
                </c:pt>
                <c:pt idx="30">
                  <c:v>2.3366552288872109</c:v>
                </c:pt>
                <c:pt idx="31">
                  <c:v>2.8352543554852052</c:v>
                </c:pt>
                <c:pt idx="32">
                  <c:v>2.9683549697889071</c:v>
                </c:pt>
                <c:pt idx="33">
                  <c:v>2.6387724962749783</c:v>
                </c:pt>
                <c:pt idx="34">
                  <c:v>2.2711612758171351</c:v>
                </c:pt>
                <c:pt idx="35">
                  <c:v>1.867634016578928</c:v>
                </c:pt>
                <c:pt idx="36">
                  <c:v>1.5021355042846356</c:v>
                </c:pt>
                <c:pt idx="37">
                  <c:v>1.1577640736258512</c:v>
                </c:pt>
                <c:pt idx="38">
                  <c:v>0.84508326542032941</c:v>
                </c:pt>
                <c:pt idx="39">
                  <c:v>0.64226328171945035</c:v>
                </c:pt>
                <c:pt idx="40">
                  <c:v>0.50916266741574856</c:v>
                </c:pt>
                <c:pt idx="41">
                  <c:v>0.47958475312603693</c:v>
                </c:pt>
                <c:pt idx="42">
                  <c:v>0.44366871434567295</c:v>
                </c:pt>
                <c:pt idx="43">
                  <c:v>0.29155372657001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5</c:f>
              <c:strCache>
                <c:ptCount val="44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</c:strCache>
            </c:strRef>
          </c:cat>
          <c:val>
            <c:numRef>
              <c:f>List1!$H$2:$H$45</c:f>
              <c:numCache>
                <c:formatCode>General</c:formatCode>
                <c:ptCount val="44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  <c:pt idx="42">
                  <c:v>3.0091156663068808</c:v>
                </c:pt>
                <c:pt idx="43">
                  <c:v>3.33823769230919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chart" Target="../charts/chart9.xml"/><Relationship Id="rId4" Type="http://schemas.openxmlformats.org/officeDocument/2006/relationships/tags" Target="../tags/tag56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10.xml"/><Relationship Id="rId4" Type="http://schemas.openxmlformats.org/officeDocument/2006/relationships/tags" Target="../tags/tag63.xml"/><Relationship Id="rId9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46AF60B8-A839-4766-997A-E51087E91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3" y="723207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547273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4.10. 2021—7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1 0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9 5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1 30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 92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 08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 50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63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33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09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90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37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71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7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4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7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4.10. 2021 do 7.11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7202050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4.10. 2021—7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9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3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2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09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8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0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9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5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1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1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5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07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 6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0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2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4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1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750197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4. týden roku 2021.</a:t>
            </a:r>
            <a:r>
              <a:rPr lang="cs-CZ" sz="1100" dirty="0">
                <a:solidFill>
                  <a:srgbClr val="000000"/>
                </a:solidFill>
              </a:rPr>
              <a:t>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 týden roku 2020, u Slovenska za 23., 27., 35., 37., 40. a 41. týden a u Francie za 44. týden roku 2020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1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30544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4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196117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3308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lang="cs-CZ" sz="1600" dirty="0">
                <a:solidFill>
                  <a:srgbClr val="000000"/>
                </a:solidFill>
              </a:rPr>
              <a:t>.10.—31.1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1.11.—7.11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4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498253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1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01992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56288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413455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432739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588" y="486625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7.11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1.11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535684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4798555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1324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973936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1.11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65475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059220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1.11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105473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532619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7115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51416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569" y="495649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4. týdne roku 2021 (1.11.—7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58660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4956" y="532554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4957" y="464313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514197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1595" y="494673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4. týdne roku 2021 (1.11.—7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73198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7.11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31496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35450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642530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682719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0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788342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0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6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1.11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8312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0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2871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773794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0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966073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0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1.11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0.11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5527804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velmi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7. 11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D7C625D3-4306-46E4-8F8C-572B1B703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5" y="723209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24.10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7.11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28947199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333816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749837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4. týdne roku 2021 (1.11.—7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7472" y="261190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356" y="416883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5509" y="468520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374683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413243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4. týdne roku 2021 (1.11.—7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223769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390282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60570" y="44773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2146" y="334151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1.11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2. týdnu vs. 41. týdnu a 44. týdnu vs. 43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6702406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1956417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5932</TotalTime>
  <Words>3013</Words>
  <Application>Microsoft Office PowerPoint</Application>
  <PresentationFormat>Širokoúhlá obrazovka</PresentationFormat>
  <Paragraphs>975</Paragraphs>
  <Slides>28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2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4.10. 2021 do 7.11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29</cp:revision>
  <dcterms:created xsi:type="dcterms:W3CDTF">2020-11-14T13:18:43Z</dcterms:created>
  <dcterms:modified xsi:type="dcterms:W3CDTF">2021-11-15T07:34:46Z</dcterms:modified>
</cp:coreProperties>
</file>